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bookmarkIdSeed="2">
  <p:sldMasterIdLst>
    <p:sldMasterId id="2147483670" r:id="rId1"/>
  </p:sldMasterIdLst>
  <p:notesMasterIdLst>
    <p:notesMasterId r:id="rId13"/>
  </p:notesMasterIdLst>
  <p:handoutMasterIdLst>
    <p:handoutMasterId r:id="rId14"/>
  </p:handoutMasterIdLst>
  <p:sldIdLst>
    <p:sldId id="1229" r:id="rId2"/>
    <p:sldId id="1321" r:id="rId3"/>
    <p:sldId id="1332" r:id="rId4"/>
    <p:sldId id="1323" r:id="rId5"/>
    <p:sldId id="1328" r:id="rId6"/>
    <p:sldId id="1335" r:id="rId7"/>
    <p:sldId id="1325" r:id="rId8"/>
    <p:sldId id="1326" r:id="rId9"/>
    <p:sldId id="1327" r:id="rId10"/>
    <p:sldId id="1333" r:id="rId11"/>
    <p:sldId id="1334" r:id="rId12"/>
  </p:sldIdLst>
  <p:sldSz cx="9906000" cy="6858000" type="A4"/>
  <p:notesSz cx="6794500" cy="9931400"/>
  <p:custShowLst>
    <p:custShow name="Custom Show 1" id="0">
      <p:sldLst/>
    </p:custShow>
  </p:custShowLst>
  <p:custDataLst>
    <p:tags r:id="rId15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Arial" charset="0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572">
          <p15:clr>
            <a:srgbClr val="A4A3A4"/>
          </p15:clr>
        </p15:guide>
        <p15:guide id="2" orient="horz" pos="3838">
          <p15:clr>
            <a:srgbClr val="A4A3A4"/>
          </p15:clr>
        </p15:guide>
        <p15:guide id="3" orient="horz">
          <p15:clr>
            <a:srgbClr val="A4A3A4"/>
          </p15:clr>
        </p15:guide>
        <p15:guide id="4" orient="horz" pos="890">
          <p15:clr>
            <a:srgbClr val="A4A3A4"/>
          </p15:clr>
        </p15:guide>
        <p15:guide id="5" pos="6023">
          <p15:clr>
            <a:srgbClr val="A4A3A4"/>
          </p15:clr>
        </p15:guide>
        <p15:guide id="6" pos="308">
          <p15:clr>
            <a:srgbClr val="A4A3A4"/>
          </p15:clr>
        </p15:guide>
        <p15:guide id="7" pos="5796">
          <p15:clr>
            <a:srgbClr val="A4A3A4"/>
          </p15:clr>
        </p15:guide>
        <p15:guide id="8" pos="217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8">
          <p15:clr>
            <a:srgbClr val="A4A3A4"/>
          </p15:clr>
        </p15:guide>
        <p15:guide id="2" pos="214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Cristina Zanetti" initials="CZ" lastIdx="1" clrIdx="0"/>
  <p:cmAuthor id="1" name="af" initials="" lastIdx="3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browse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FF"/>
    <a:srgbClr val="000000"/>
    <a:srgbClr val="FFDA65"/>
    <a:srgbClr val="FFFFFF"/>
    <a:srgbClr val="FFCC00"/>
    <a:srgbClr val="E39913"/>
    <a:srgbClr val="F2F2F2"/>
    <a:srgbClr val="FFFF99"/>
    <a:srgbClr val="FFFFCC"/>
    <a:srgbClr val="D8D8D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5758FB7-9AC5-4552-8A53-C91805E547FA}" styleName="Themed Style 1 - Accent 5">
    <a:tblBg>
      <a:fillRef idx="2">
        <a:schemeClr val="accent5"/>
      </a:fillRef>
      <a:effectRef idx="1">
        <a:schemeClr val="accent5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Ref idx="1">
              <a:schemeClr val="accent5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</a:tcBdr>
        <a:fill>
          <a:solidFill>
            <a:schemeClr val="accent5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5"/>
            </a:lnRef>
          </a:left>
          <a:right>
            <a:lnRef idx="2">
              <a:schemeClr val="accent5"/>
            </a:lnRef>
          </a:right>
          <a:top>
            <a:lnRef idx="1">
              <a:schemeClr val="accent5"/>
            </a:lnRef>
          </a:top>
          <a:bottom>
            <a:lnRef idx="1">
              <a:schemeClr val="accent5"/>
            </a:lnRef>
          </a:bottom>
          <a:insideH>
            <a:lnRef idx="1">
              <a:schemeClr val="accent5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2">
              <a:schemeClr val="accent5"/>
            </a:lnRef>
          </a:top>
          <a:bottom>
            <a:lnRef idx="2">
              <a:schemeClr val="accent5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5"/>
            </a:lnRef>
          </a:left>
          <a:right>
            <a:lnRef idx="1">
              <a:schemeClr val="accent5"/>
            </a:lnRef>
          </a:right>
          <a:top>
            <a:lnRef idx="1">
              <a:schemeClr val="accent5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68D230F3-CF80-4859-8CE7-A43EE81993B5}" styleName="Stile chiaro 1 - Colore 6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6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6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6"/>
              </a:solidFill>
            </a:ln>
          </a:bottom>
        </a:tcBdr>
        <a:fill>
          <a:noFill/>
        </a:fill>
      </a:tcStyle>
    </a:firstRow>
  </a:tblStyle>
  <a:tblStyle styleId="{16D9F66E-5EB9-4882-86FB-DCBF35E3C3E4}" styleName="Stile medio 4 - Colore 6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6"/>
              </a:solidFill>
            </a:ln>
          </a:left>
          <a:right>
            <a:ln w="12700" cmpd="sng">
              <a:solidFill>
                <a:schemeClr val="accent6"/>
              </a:solidFill>
            </a:ln>
          </a:right>
          <a:top>
            <a:ln w="12700" cmpd="sng">
              <a:solidFill>
                <a:schemeClr val="accent6"/>
              </a:solidFill>
            </a:ln>
          </a:top>
          <a:bottom>
            <a:ln w="12700" cmpd="sng">
              <a:solidFill>
                <a:schemeClr val="accent6"/>
              </a:solidFill>
            </a:ln>
          </a:bottom>
          <a:insideH>
            <a:ln w="12700" cmpd="sng">
              <a:solidFill>
                <a:schemeClr val="accent6"/>
              </a:solidFill>
            </a:ln>
          </a:insideH>
          <a:insideV>
            <a:ln w="12700" cmpd="sng">
              <a:solidFill>
                <a:schemeClr val="accent6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6"/>
              </a:solidFill>
            </a:ln>
          </a:top>
        </a:tcBdr>
        <a:fill>
          <a:solidFill>
            <a:schemeClr val="accent6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6">
              <a:tint val="20000"/>
            </a:schemeClr>
          </a:solidFill>
        </a:fill>
      </a:tcStyle>
    </a:firstRow>
  </a:tblStyle>
  <a:tblStyle styleId="{2A488322-F2BA-4B5B-9748-0D474271808F}" styleName="Stile medio 3 - 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46F890A9-2807-4EBB-B81D-B2AA78EC7F39}" styleName="Stile scuro 2 - Colore 5/Colore 6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accent5">
              <a:tint val="20000"/>
            </a:schemeClr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6"/>
          </a:solidFill>
        </a:fill>
      </a:tcStyle>
    </a:firstRow>
  </a:tblStyle>
  <a:tblStyle styleId="{2D5ABB26-0587-4C30-8999-92F81FD0307C}" styleName="Nessuno stile, nessuna griglia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6211" autoAdjust="0"/>
    <p:restoredTop sz="95252" autoAdjust="0"/>
  </p:normalViewPr>
  <p:slideViewPr>
    <p:cSldViewPr>
      <p:cViewPr varScale="1">
        <p:scale>
          <a:sx n="107" d="100"/>
          <a:sy n="107" d="100"/>
        </p:scale>
        <p:origin x="1344" y="102"/>
      </p:cViewPr>
      <p:guideLst>
        <p:guide orient="horz" pos="572"/>
        <p:guide orient="horz" pos="3838"/>
        <p:guide orient="horz"/>
        <p:guide orient="horz" pos="890"/>
        <p:guide pos="6023"/>
        <p:guide pos="308"/>
        <p:guide pos="5796"/>
        <p:guide pos="217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200" d="100"/>
        <a:sy n="200" d="100"/>
      </p:scale>
      <p:origin x="0" y="0"/>
    </p:cViewPr>
  </p:notesTextViewPr>
  <p:sorterViewPr>
    <p:cViewPr>
      <p:scale>
        <a:sx n="67" d="100"/>
        <a:sy n="67" d="100"/>
      </p:scale>
      <p:origin x="0" y="0"/>
    </p:cViewPr>
  </p:sorterViewPr>
  <p:notesViewPr>
    <p:cSldViewPr>
      <p:cViewPr varScale="1">
        <p:scale>
          <a:sx n="51" d="100"/>
          <a:sy n="51" d="100"/>
        </p:scale>
        <p:origin x="-3006" y="-108"/>
      </p:cViewPr>
      <p:guideLst>
        <p:guide orient="horz" pos="3128"/>
        <p:guide pos="2141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notesMaster" Target="notesMasters/notesMaster1.xml"/><Relationship Id="rId18" Type="http://schemas.openxmlformats.org/officeDocument/2006/relationships/viewProps" Target="view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ags" Target="tags/tag1.xml"/><Relationship Id="rId10" Type="http://schemas.openxmlformats.org/officeDocument/2006/relationships/slide" Target="slides/slide9.xml"/><Relationship Id="rId19" Type="http://schemas.openxmlformats.org/officeDocument/2006/relationships/theme" Target="theme/theme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handoutMaster" Target="handoutMasters/handoutMaster1.xm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0FFD1D74-E9FE-354B-9D51-285A483A2DEA}" type="doc">
      <dgm:prSet loTypeId="urn:microsoft.com/office/officeart/2005/8/layout/vList5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308D0244-75D0-664E-8392-2B649EFC7869}">
      <dgm:prSet/>
      <dgm:spPr>
        <a:xfrm>
          <a:off x="0" y="1784"/>
          <a:ext cx="2777472" cy="1177982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/>
          <a:r>
            <a:rPr lang="en-GB" noProof="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ANPAL </a:t>
          </a:r>
          <a:br>
            <a:rPr lang="en-GB" noProof="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</a:br>
          <a:endParaRPr lang="en-GB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E93A3C6B-7714-CD4F-AFCC-E1EA551BA42B}" type="parTrans" cxnId="{CD09B961-E37C-564E-8CB1-044C84F3CDFD}">
      <dgm:prSet/>
      <dgm:spPr/>
      <dgm:t>
        <a:bodyPr/>
        <a:lstStyle/>
        <a:p>
          <a:endParaRPr lang="en-GB" noProof="0"/>
        </a:p>
      </dgm:t>
    </dgm:pt>
    <dgm:pt modelId="{B1A26395-7FDC-2D48-AFA2-CCA6F7589E42}" type="sibTrans" cxnId="{CD09B961-E37C-564E-8CB1-044C84F3CDFD}">
      <dgm:prSet/>
      <dgm:spPr/>
      <dgm:t>
        <a:bodyPr/>
        <a:lstStyle/>
        <a:p>
          <a:endParaRPr lang="en-GB" noProof="0"/>
        </a:p>
      </dgm:t>
    </dgm:pt>
    <dgm:pt modelId="{A4F9DA59-B867-DD41-95AF-EB28DA1B8E24}">
      <dgm:prSet/>
      <dgm:spPr>
        <a:xfrm>
          <a:off x="0" y="1238665"/>
          <a:ext cx="2777472" cy="1177982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/>
          <a:r>
            <a:rPr lang="en-GB" noProof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Regions</a:t>
          </a:r>
          <a:endParaRPr lang="en-GB" noProof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2D84F1DE-25D1-A349-8DBF-5459847530EA}" type="parTrans" cxnId="{FCF3AB49-6CE6-1040-B597-9DA2986554F4}">
      <dgm:prSet/>
      <dgm:spPr/>
      <dgm:t>
        <a:bodyPr/>
        <a:lstStyle/>
        <a:p>
          <a:endParaRPr lang="en-GB" noProof="0"/>
        </a:p>
      </dgm:t>
    </dgm:pt>
    <dgm:pt modelId="{65E91B63-940D-E843-B0DA-4FBA51A7F3FD}" type="sibTrans" cxnId="{FCF3AB49-6CE6-1040-B597-9DA2986554F4}">
      <dgm:prSet/>
      <dgm:spPr/>
      <dgm:t>
        <a:bodyPr/>
        <a:lstStyle/>
        <a:p>
          <a:endParaRPr lang="en-GB" noProof="0"/>
        </a:p>
      </dgm:t>
    </dgm:pt>
    <dgm:pt modelId="{6883D43C-CBC2-BE49-A64B-F2EFCEEEA2BB}">
      <dgm:prSet custT="1"/>
      <dgm:spPr>
        <a:xfrm rot="5400000">
          <a:off x="4687524" y="-1878088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4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Coordinates the system</a:t>
          </a:r>
          <a:endParaRPr lang="en-GB" sz="14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D96D4FA5-1884-8446-AC1E-F206095F2A8D}" type="parTrans" cxnId="{5ACC5B6D-55E8-534E-9DDC-3654DA10F882}">
      <dgm:prSet/>
      <dgm:spPr/>
      <dgm:t>
        <a:bodyPr/>
        <a:lstStyle/>
        <a:p>
          <a:endParaRPr lang="en-GB" noProof="0"/>
        </a:p>
      </dgm:t>
    </dgm:pt>
    <dgm:pt modelId="{D7169502-36E2-1A4D-9CFF-ED664CB47354}" type="sibTrans" cxnId="{5ACC5B6D-55E8-534E-9DDC-3654DA10F882}">
      <dgm:prSet/>
      <dgm:spPr/>
      <dgm:t>
        <a:bodyPr/>
        <a:lstStyle/>
        <a:p>
          <a:endParaRPr lang="en-GB" noProof="0"/>
        </a:p>
      </dgm:t>
    </dgm:pt>
    <dgm:pt modelId="{04C15E15-04BC-7449-9F35-1B8862E52122}">
      <dgm:prSet custT="1"/>
      <dgm:spPr>
        <a:xfrm rot="5400000">
          <a:off x="4687524" y="-1878088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4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Defines common tools</a:t>
          </a:r>
          <a:endParaRPr lang="en-GB" sz="14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730C56E1-E700-7E48-BE98-3F5B85655FBD}" type="parTrans" cxnId="{4CACB1F7-66D7-F043-A1CF-39B2B7F41BCF}">
      <dgm:prSet/>
      <dgm:spPr/>
      <dgm:t>
        <a:bodyPr/>
        <a:lstStyle/>
        <a:p>
          <a:endParaRPr lang="en-GB" noProof="0"/>
        </a:p>
      </dgm:t>
    </dgm:pt>
    <dgm:pt modelId="{94CF8178-3F33-0845-82CA-7430317C1E41}" type="sibTrans" cxnId="{4CACB1F7-66D7-F043-A1CF-39B2B7F41BCF}">
      <dgm:prSet/>
      <dgm:spPr/>
      <dgm:t>
        <a:bodyPr/>
        <a:lstStyle/>
        <a:p>
          <a:endParaRPr lang="en-GB" noProof="0"/>
        </a:p>
      </dgm:t>
    </dgm:pt>
    <dgm:pt modelId="{C88E56C6-81CF-4941-9A3A-5DFF045F171F}">
      <dgm:prSet custT="1"/>
      <dgm:spPr>
        <a:xfrm rot="5400000">
          <a:off x="4687524" y="-1878088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4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Monitor performances</a:t>
          </a:r>
          <a:endParaRPr lang="en-GB" sz="14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EA0D40C7-0D9B-874E-A198-3EED87C33A46}" type="parTrans" cxnId="{4808DB73-D30F-E64C-9116-7B164FE10EFC}">
      <dgm:prSet/>
      <dgm:spPr/>
      <dgm:t>
        <a:bodyPr/>
        <a:lstStyle/>
        <a:p>
          <a:endParaRPr lang="en-GB" noProof="0"/>
        </a:p>
      </dgm:t>
    </dgm:pt>
    <dgm:pt modelId="{7149A399-2500-5649-9FF3-51E4502E38EC}" type="sibTrans" cxnId="{4808DB73-D30F-E64C-9116-7B164FE10EFC}">
      <dgm:prSet/>
      <dgm:spPr/>
      <dgm:t>
        <a:bodyPr/>
        <a:lstStyle/>
        <a:p>
          <a:endParaRPr lang="en-GB" noProof="0"/>
        </a:p>
      </dgm:t>
    </dgm:pt>
    <dgm:pt modelId="{1642D2A4-FC56-5842-A497-784062C74353}">
      <dgm:prSet custT="1"/>
      <dgm:spPr>
        <a:xfrm rot="5400000">
          <a:off x="4687524" y="-641207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4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Define regional programs for active labour market policies</a:t>
          </a:r>
          <a:endParaRPr lang="en-GB" sz="14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C002337A-E33C-FC49-9C3B-E42535672019}" type="parTrans" cxnId="{9587C1D4-BBEC-104D-BA89-7716AE832DF4}">
      <dgm:prSet/>
      <dgm:spPr/>
      <dgm:t>
        <a:bodyPr/>
        <a:lstStyle/>
        <a:p>
          <a:endParaRPr lang="en-GB" noProof="0"/>
        </a:p>
      </dgm:t>
    </dgm:pt>
    <dgm:pt modelId="{856347CE-1CF4-B14C-BCF7-D6CA9B32DFAF}" type="sibTrans" cxnId="{9587C1D4-BBEC-104D-BA89-7716AE832DF4}">
      <dgm:prSet/>
      <dgm:spPr/>
      <dgm:t>
        <a:bodyPr/>
        <a:lstStyle/>
        <a:p>
          <a:endParaRPr lang="en-GB" noProof="0"/>
        </a:p>
      </dgm:t>
    </dgm:pt>
    <dgm:pt modelId="{328AB9E3-F06B-D946-AF3B-068224F78BE8}">
      <dgm:prSet/>
      <dgm:spPr>
        <a:xfrm>
          <a:off x="0" y="2475547"/>
          <a:ext cx="2777472" cy="1177982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/>
          <a:r>
            <a:rPr lang="en-GB" noProof="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Other public and private bodies</a:t>
          </a:r>
          <a:endParaRPr lang="en-GB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9ED9B87A-FFC2-8842-9A30-531127B0ACB4}" type="parTrans" cxnId="{30CBEBE1-C5BF-F642-B246-B0BE751BA19A}">
      <dgm:prSet/>
      <dgm:spPr/>
      <dgm:t>
        <a:bodyPr/>
        <a:lstStyle/>
        <a:p>
          <a:endParaRPr lang="en-GB" noProof="0"/>
        </a:p>
      </dgm:t>
    </dgm:pt>
    <dgm:pt modelId="{67141F26-D6C0-AA40-983C-EB90C9F570C2}" type="sibTrans" cxnId="{30CBEBE1-C5BF-F642-B246-B0BE751BA19A}">
      <dgm:prSet/>
      <dgm:spPr/>
      <dgm:t>
        <a:bodyPr/>
        <a:lstStyle/>
        <a:p>
          <a:endParaRPr lang="en-GB" noProof="0"/>
        </a:p>
      </dgm:t>
    </dgm:pt>
    <dgm:pt modelId="{560E78AD-CA29-1E41-AA7E-90D0734AD58C}">
      <dgm:prSet custT="1"/>
      <dgm:spPr>
        <a:xfrm rot="5400000">
          <a:off x="4687524" y="595674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Social Security Institute</a:t>
          </a:r>
          <a:endParaRPr lang="en-GB" sz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AB633A5F-63C8-FB44-8A72-3440EB13A726}" type="parTrans" cxnId="{614916C9-E7AC-2545-94DE-7B5E1B04E7D0}">
      <dgm:prSet/>
      <dgm:spPr/>
      <dgm:t>
        <a:bodyPr/>
        <a:lstStyle/>
        <a:p>
          <a:endParaRPr lang="it-IT"/>
        </a:p>
      </dgm:t>
    </dgm:pt>
    <dgm:pt modelId="{B2EEFEDA-4A19-184A-86E7-70657D964BDA}" type="sibTrans" cxnId="{614916C9-E7AC-2545-94DE-7B5E1B04E7D0}">
      <dgm:prSet/>
      <dgm:spPr/>
      <dgm:t>
        <a:bodyPr/>
        <a:lstStyle/>
        <a:p>
          <a:endParaRPr lang="it-IT"/>
        </a:p>
      </dgm:t>
    </dgm:pt>
    <dgm:pt modelId="{216218D4-7BAD-244E-AEB3-EA028372240C}">
      <dgm:prSet custT="1"/>
      <dgm:spPr>
        <a:xfrm rot="5400000">
          <a:off x="4687524" y="595674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Bilateral Funds</a:t>
          </a:r>
          <a:endParaRPr lang="en-GB" sz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ABC9D446-F25C-5F4B-9EB9-AC75082427A0}" type="parTrans" cxnId="{3B33A666-DC7B-5A41-A204-8CBA120C2288}">
      <dgm:prSet/>
      <dgm:spPr/>
      <dgm:t>
        <a:bodyPr/>
        <a:lstStyle/>
        <a:p>
          <a:endParaRPr lang="it-IT"/>
        </a:p>
      </dgm:t>
    </dgm:pt>
    <dgm:pt modelId="{398B7AC6-81FC-6240-A220-5795E97B9332}" type="sibTrans" cxnId="{3B33A666-DC7B-5A41-A204-8CBA120C2288}">
      <dgm:prSet/>
      <dgm:spPr/>
      <dgm:t>
        <a:bodyPr/>
        <a:lstStyle/>
        <a:p>
          <a:endParaRPr lang="it-IT"/>
        </a:p>
      </dgm:t>
    </dgm:pt>
    <dgm:pt modelId="{55675564-DE37-3D47-BCBF-ACE85AED7C3B}">
      <dgm:prSet custT="1"/>
      <dgm:spPr>
        <a:xfrm rot="5400000">
          <a:off x="4687524" y="595674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ES</a:t>
          </a:r>
          <a:endParaRPr lang="en-GB" sz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E79D3756-A504-104E-9B78-C1D22B0231F1}" type="parTrans" cxnId="{2FAED4F0-C73D-584E-B4B4-B774859A458D}">
      <dgm:prSet/>
      <dgm:spPr/>
      <dgm:t>
        <a:bodyPr/>
        <a:lstStyle/>
        <a:p>
          <a:endParaRPr lang="it-IT"/>
        </a:p>
      </dgm:t>
    </dgm:pt>
    <dgm:pt modelId="{33B3FBB5-2949-934E-BEB2-171DCB4EAA06}" type="sibTrans" cxnId="{2FAED4F0-C73D-584E-B4B4-B774859A458D}">
      <dgm:prSet/>
      <dgm:spPr/>
      <dgm:t>
        <a:bodyPr/>
        <a:lstStyle/>
        <a:p>
          <a:endParaRPr lang="it-IT"/>
        </a:p>
      </dgm:t>
    </dgm:pt>
    <dgm:pt modelId="{3BE984C9-160E-5A47-A530-4931D6FE26A2}">
      <dgm:prSet custT="1"/>
      <dgm:spPr>
        <a:xfrm rot="5400000">
          <a:off x="4687524" y="595674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Chambers of Commerce</a:t>
          </a:r>
          <a:endParaRPr lang="en-GB" sz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64024599-212E-624D-89EE-5443CEDA9BFB}" type="parTrans" cxnId="{59BC8943-5DC3-6443-B73E-F200A1A35CD9}">
      <dgm:prSet/>
      <dgm:spPr/>
      <dgm:t>
        <a:bodyPr/>
        <a:lstStyle/>
        <a:p>
          <a:endParaRPr lang="it-IT"/>
        </a:p>
      </dgm:t>
    </dgm:pt>
    <dgm:pt modelId="{B07CC13F-109F-0A48-AC4E-CB267A1392CE}" type="sibTrans" cxnId="{59BC8943-5DC3-6443-B73E-F200A1A35CD9}">
      <dgm:prSet/>
      <dgm:spPr/>
      <dgm:t>
        <a:bodyPr/>
        <a:lstStyle/>
        <a:p>
          <a:endParaRPr lang="it-IT"/>
        </a:p>
      </dgm:t>
    </dgm:pt>
    <dgm:pt modelId="{F11C259B-68D6-CD4F-8592-D26A5C6D0DE2}">
      <dgm:prSet custT="1"/>
      <dgm:spPr>
        <a:xfrm rot="5400000">
          <a:off x="4687524" y="-1878088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4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Manages specific programmes</a:t>
          </a:r>
          <a:endParaRPr lang="en-GB" sz="14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0E998246-4B70-2141-92C1-A37907627219}" type="parTrans" cxnId="{746E8C62-7C31-BB45-9D9E-7B124C4E9B07}">
      <dgm:prSet/>
      <dgm:spPr/>
      <dgm:t>
        <a:bodyPr/>
        <a:lstStyle/>
        <a:p>
          <a:endParaRPr lang="it-IT"/>
        </a:p>
      </dgm:t>
    </dgm:pt>
    <dgm:pt modelId="{BFFF6DA5-933C-A445-9BED-937796B0CBDB}" type="sibTrans" cxnId="{746E8C62-7C31-BB45-9D9E-7B124C4E9B07}">
      <dgm:prSet/>
      <dgm:spPr/>
      <dgm:t>
        <a:bodyPr/>
        <a:lstStyle/>
        <a:p>
          <a:endParaRPr lang="it-IT"/>
        </a:p>
      </dgm:t>
    </dgm:pt>
    <dgm:pt modelId="{8FCA6A96-92D2-ED42-A394-F39CDF64A3FE}">
      <dgm:prSet custT="1"/>
      <dgm:spPr>
        <a:xfrm rot="5400000">
          <a:off x="4687524" y="-641207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4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Manage PES Offices</a:t>
          </a:r>
          <a:endParaRPr lang="en-GB" sz="14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4D7D530A-6737-D84A-85BA-A508587936F7}" type="parTrans" cxnId="{18ABEACE-6F5E-A24F-9FC5-B4F1EE92D7D4}">
      <dgm:prSet/>
      <dgm:spPr/>
      <dgm:t>
        <a:bodyPr/>
        <a:lstStyle/>
        <a:p>
          <a:endParaRPr lang="it-IT"/>
        </a:p>
      </dgm:t>
    </dgm:pt>
    <dgm:pt modelId="{F7E3D719-8397-9748-93E7-B8B35B178D2A}" type="sibTrans" cxnId="{18ABEACE-6F5E-A24F-9FC5-B4F1EE92D7D4}">
      <dgm:prSet/>
      <dgm:spPr/>
      <dgm:t>
        <a:bodyPr/>
        <a:lstStyle/>
        <a:p>
          <a:endParaRPr lang="it-IT"/>
        </a:p>
      </dgm:t>
    </dgm:pt>
    <dgm:pt modelId="{8A1F6799-CE1E-48A8-831F-72374EE31B42}">
      <dgm:prSet custT="1"/>
      <dgm:spPr>
        <a:xfrm rot="5400000">
          <a:off x="4687524" y="595674"/>
          <a:ext cx="1117622" cy="4937728"/>
        </a:xfr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INAPP</a:t>
          </a:r>
          <a:endParaRPr lang="en-GB" sz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7AA18F63-C1DF-47A5-89AD-C76C05F6C928}" type="parTrans" cxnId="{20AFB225-A8C2-4A65-8D7B-F89EEB176D74}">
      <dgm:prSet/>
      <dgm:spPr/>
      <dgm:t>
        <a:bodyPr/>
        <a:lstStyle/>
        <a:p>
          <a:endParaRPr lang="it-IT"/>
        </a:p>
      </dgm:t>
    </dgm:pt>
    <dgm:pt modelId="{65A55053-A45B-45D9-88BC-B362DC79787E}" type="sibTrans" cxnId="{20AFB225-A8C2-4A65-8D7B-F89EEB176D74}">
      <dgm:prSet/>
      <dgm:spPr/>
      <dgm:t>
        <a:bodyPr/>
        <a:lstStyle/>
        <a:p>
          <a:endParaRPr lang="it-IT"/>
        </a:p>
      </dgm:t>
    </dgm:pt>
    <dgm:pt modelId="{5D4ECC91-C363-451E-B050-0135F5E03C8E}">
      <dgm:prSet custT="1"/>
      <dgm:spPr>
        <a:xfrm rot="5400000">
          <a:off x="4687524" y="595674"/>
          <a:ext cx="1117622" cy="4937728"/>
        </a:xfr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INAIL</a:t>
          </a:r>
          <a:endParaRPr lang="en-GB" sz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6CCE3A26-A55F-4812-B335-9061C1797071}" type="parTrans" cxnId="{BD3ABFB1-4D07-4AB6-B707-703BF51A43D3}">
      <dgm:prSet/>
      <dgm:spPr/>
      <dgm:t>
        <a:bodyPr/>
        <a:lstStyle/>
        <a:p>
          <a:endParaRPr lang="it-IT"/>
        </a:p>
      </dgm:t>
    </dgm:pt>
    <dgm:pt modelId="{3F1A0F8C-706E-429F-AFA0-78FAEFAAC8D1}" type="sibTrans" cxnId="{BD3ABFB1-4D07-4AB6-B707-703BF51A43D3}">
      <dgm:prSet/>
      <dgm:spPr/>
      <dgm:t>
        <a:bodyPr/>
        <a:lstStyle/>
        <a:p>
          <a:endParaRPr lang="it-IT"/>
        </a:p>
      </dgm:t>
    </dgm:pt>
    <dgm:pt modelId="{54CEA6CA-6A01-3C48-83B1-655FB8074FE2}" type="pres">
      <dgm:prSet presAssocID="{0FFD1D74-E9FE-354B-9D51-285A483A2DEA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655DA8D4-4792-D443-BF07-F4F0A22C351B}" type="pres">
      <dgm:prSet presAssocID="{308D0244-75D0-664E-8392-2B649EFC7869}" presName="linNode" presStyleCnt="0"/>
      <dgm:spPr/>
    </dgm:pt>
    <dgm:pt modelId="{AA07C85F-1CFC-2143-965B-A96F06AB085A}" type="pres">
      <dgm:prSet presAssocID="{308D0244-75D0-664E-8392-2B649EFC7869}" presName="parentText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64BE35F-1A42-F742-9E99-A37BC27A23EE}" type="pres">
      <dgm:prSet presAssocID="{308D0244-75D0-664E-8392-2B649EFC7869}" presName="descendantText" presStyleLbl="alignAccFollowNode1" presStyleIdx="0" presStyleCnt="3" custScaleY="11859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AB97644-229A-C942-BA4B-175076C9E472}" type="pres">
      <dgm:prSet presAssocID="{B1A26395-7FDC-2D48-AFA2-CCA6F7589E42}" presName="sp" presStyleCnt="0"/>
      <dgm:spPr/>
    </dgm:pt>
    <dgm:pt modelId="{2583F540-AEED-5844-91BB-571F941A3440}" type="pres">
      <dgm:prSet presAssocID="{A4F9DA59-B867-DD41-95AF-EB28DA1B8E24}" presName="linNode" presStyleCnt="0"/>
      <dgm:spPr/>
    </dgm:pt>
    <dgm:pt modelId="{2B1EBE99-F4C1-3843-A868-DCC6AFA77D9D}" type="pres">
      <dgm:prSet presAssocID="{A4F9DA59-B867-DD41-95AF-EB28DA1B8E24}" presName="parentText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2773E47-C793-1A4B-AFC9-20276182B831}" type="pres">
      <dgm:prSet presAssocID="{A4F9DA59-B867-DD41-95AF-EB28DA1B8E24}" presName="descendantText" presStyleLbl="alignAccFollowNode1" presStyleIdx="1" presStyleCnt="3" custScaleY="118595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C660F23-4838-2743-BA2A-524D2F0BA4FC}" type="pres">
      <dgm:prSet presAssocID="{65E91B63-940D-E843-B0DA-4FBA51A7F3FD}" presName="sp" presStyleCnt="0"/>
      <dgm:spPr/>
    </dgm:pt>
    <dgm:pt modelId="{1E8DA505-DA83-9045-B5CA-49F7D3AB880B}" type="pres">
      <dgm:prSet presAssocID="{328AB9E3-F06B-D946-AF3B-068224F78BE8}" presName="linNode" presStyleCnt="0"/>
      <dgm:spPr/>
    </dgm:pt>
    <dgm:pt modelId="{7AB942F5-9D54-564A-9C0A-7E13737258B9}" type="pres">
      <dgm:prSet presAssocID="{328AB9E3-F06B-D946-AF3B-068224F78BE8}" presName="parentText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5FA4650-3B76-C843-98CA-970B6F8F2D4B}" type="pres">
      <dgm:prSet presAssocID="{328AB9E3-F06B-D946-AF3B-068224F78BE8}" presName="descendantText" presStyleLbl="alignAccFollowNode1" presStyleIdx="2" presStyleCnt="3" custScaleY="118595" custLinFactNeighborX="-355" custLinFactNeighborY="1184">
        <dgm:presLayoutVars>
          <dgm:bulletEnabled val="1"/>
        </dgm:presLayoutVars>
      </dgm:prSet>
      <dgm:spPr>
        <a:prstGeom prst="round2SameRect">
          <a:avLst/>
        </a:prstGeom>
      </dgm:spPr>
      <dgm:t>
        <a:bodyPr/>
        <a:lstStyle/>
        <a:p>
          <a:endParaRPr lang="it-IT"/>
        </a:p>
      </dgm:t>
    </dgm:pt>
  </dgm:ptLst>
  <dgm:cxnLst>
    <dgm:cxn modelId="{CD641FE6-8FBE-4C4B-9620-3E2CA7BC4DC0}" type="presOf" srcId="{1642D2A4-FC56-5842-A497-784062C74353}" destId="{32773E47-C793-1A4B-AFC9-20276182B831}" srcOrd="0" destOrd="0" presId="urn:microsoft.com/office/officeart/2005/8/layout/vList5"/>
    <dgm:cxn modelId="{51260DCD-7E26-484D-85DD-3F38BA02DD92}" type="presOf" srcId="{308D0244-75D0-664E-8392-2B649EFC7869}" destId="{AA07C85F-1CFC-2143-965B-A96F06AB085A}" srcOrd="0" destOrd="0" presId="urn:microsoft.com/office/officeart/2005/8/layout/vList5"/>
    <dgm:cxn modelId="{746E8C62-7C31-BB45-9D9E-7B124C4E9B07}" srcId="{308D0244-75D0-664E-8392-2B649EFC7869}" destId="{F11C259B-68D6-CD4F-8592-D26A5C6D0DE2}" srcOrd="3" destOrd="0" parTransId="{0E998246-4B70-2141-92C1-A37907627219}" sibTransId="{BFFF6DA5-933C-A445-9BED-937796B0CBDB}"/>
    <dgm:cxn modelId="{18ABEACE-6F5E-A24F-9FC5-B4F1EE92D7D4}" srcId="{A4F9DA59-B867-DD41-95AF-EB28DA1B8E24}" destId="{8FCA6A96-92D2-ED42-A394-F39CDF64A3FE}" srcOrd="1" destOrd="0" parTransId="{4D7D530A-6737-D84A-85BA-A508587936F7}" sibTransId="{F7E3D719-8397-9748-93E7-B8B35B178D2A}"/>
    <dgm:cxn modelId="{1BEDCE18-7754-4F21-AB0D-930B222759F9}" type="presOf" srcId="{C88E56C6-81CF-4941-9A3A-5DFF045F171F}" destId="{E64BE35F-1A42-F742-9E99-A37BC27A23EE}" srcOrd="0" destOrd="2" presId="urn:microsoft.com/office/officeart/2005/8/layout/vList5"/>
    <dgm:cxn modelId="{9E7492E4-154F-4BFA-B7AC-BE9405750A3B}" type="presOf" srcId="{8FCA6A96-92D2-ED42-A394-F39CDF64A3FE}" destId="{32773E47-C793-1A4B-AFC9-20276182B831}" srcOrd="0" destOrd="1" presId="urn:microsoft.com/office/officeart/2005/8/layout/vList5"/>
    <dgm:cxn modelId="{59BC8943-5DC3-6443-B73E-F200A1A35CD9}" srcId="{328AB9E3-F06B-D946-AF3B-068224F78BE8}" destId="{3BE984C9-160E-5A47-A530-4931D6FE26A2}" srcOrd="3" destOrd="0" parTransId="{64024599-212E-624D-89EE-5443CEDA9BFB}" sibTransId="{B07CC13F-109F-0A48-AC4E-CB267A1392CE}"/>
    <dgm:cxn modelId="{3AF0441F-2DCE-452B-A209-382770F7C45C}" type="presOf" srcId="{F11C259B-68D6-CD4F-8592-D26A5C6D0DE2}" destId="{E64BE35F-1A42-F742-9E99-A37BC27A23EE}" srcOrd="0" destOrd="3" presId="urn:microsoft.com/office/officeart/2005/8/layout/vList5"/>
    <dgm:cxn modelId="{ECA37414-F4EE-4876-96D5-24867EAAC319}" type="presOf" srcId="{A4F9DA59-B867-DD41-95AF-EB28DA1B8E24}" destId="{2B1EBE99-F4C1-3843-A868-DCC6AFA77D9D}" srcOrd="0" destOrd="0" presId="urn:microsoft.com/office/officeart/2005/8/layout/vList5"/>
    <dgm:cxn modelId="{4CACB1F7-66D7-F043-A1CF-39B2B7F41BCF}" srcId="{308D0244-75D0-664E-8392-2B649EFC7869}" destId="{04C15E15-04BC-7449-9F35-1B8862E52122}" srcOrd="1" destOrd="0" parTransId="{730C56E1-E700-7E48-BE98-3F5B85655FBD}" sibTransId="{94CF8178-3F33-0845-82CA-7430317C1E41}"/>
    <dgm:cxn modelId="{614916C9-E7AC-2545-94DE-7B5E1B04E7D0}" srcId="{328AB9E3-F06B-D946-AF3B-068224F78BE8}" destId="{560E78AD-CA29-1E41-AA7E-90D0734AD58C}" srcOrd="0" destOrd="0" parTransId="{AB633A5F-63C8-FB44-8A72-3440EB13A726}" sibTransId="{B2EEFEDA-4A19-184A-86E7-70657D964BDA}"/>
    <dgm:cxn modelId="{6A2D8A61-8C62-42BB-AE28-A5B83AB0EBC0}" type="presOf" srcId="{5D4ECC91-C363-451E-B050-0135F5E03C8E}" destId="{55FA4650-3B76-C843-98CA-970B6F8F2D4B}" srcOrd="0" destOrd="5" presId="urn:microsoft.com/office/officeart/2005/8/layout/vList5"/>
    <dgm:cxn modelId="{20AFB225-A8C2-4A65-8D7B-F89EEB176D74}" srcId="{328AB9E3-F06B-D946-AF3B-068224F78BE8}" destId="{8A1F6799-CE1E-48A8-831F-72374EE31B42}" srcOrd="4" destOrd="0" parTransId="{7AA18F63-C1DF-47A5-89AD-C76C05F6C928}" sibTransId="{65A55053-A45B-45D9-88BC-B362DC79787E}"/>
    <dgm:cxn modelId="{66C743E6-1735-445A-B294-3B585689B632}" type="presOf" srcId="{04C15E15-04BC-7449-9F35-1B8862E52122}" destId="{E64BE35F-1A42-F742-9E99-A37BC27A23EE}" srcOrd="0" destOrd="1" presId="urn:microsoft.com/office/officeart/2005/8/layout/vList5"/>
    <dgm:cxn modelId="{6CBA244A-BB7C-4EE8-8AE3-03831AF27946}" type="presOf" srcId="{0FFD1D74-E9FE-354B-9D51-285A483A2DEA}" destId="{54CEA6CA-6A01-3C48-83B1-655FB8074FE2}" srcOrd="0" destOrd="0" presId="urn:microsoft.com/office/officeart/2005/8/layout/vList5"/>
    <dgm:cxn modelId="{30CBEBE1-C5BF-F642-B246-B0BE751BA19A}" srcId="{0FFD1D74-E9FE-354B-9D51-285A483A2DEA}" destId="{328AB9E3-F06B-D946-AF3B-068224F78BE8}" srcOrd="2" destOrd="0" parTransId="{9ED9B87A-FFC2-8842-9A30-531127B0ACB4}" sibTransId="{67141F26-D6C0-AA40-983C-EB90C9F570C2}"/>
    <dgm:cxn modelId="{CD09B961-E37C-564E-8CB1-044C84F3CDFD}" srcId="{0FFD1D74-E9FE-354B-9D51-285A483A2DEA}" destId="{308D0244-75D0-664E-8392-2B649EFC7869}" srcOrd="0" destOrd="0" parTransId="{E93A3C6B-7714-CD4F-AFCC-E1EA551BA42B}" sibTransId="{B1A26395-7FDC-2D48-AFA2-CCA6F7589E42}"/>
    <dgm:cxn modelId="{6ED95372-1744-4044-BAD3-6149B5E2FA45}" type="presOf" srcId="{8A1F6799-CE1E-48A8-831F-72374EE31B42}" destId="{55FA4650-3B76-C843-98CA-970B6F8F2D4B}" srcOrd="0" destOrd="4" presId="urn:microsoft.com/office/officeart/2005/8/layout/vList5"/>
    <dgm:cxn modelId="{5ACC5B6D-55E8-534E-9DDC-3654DA10F882}" srcId="{308D0244-75D0-664E-8392-2B649EFC7869}" destId="{6883D43C-CBC2-BE49-A64B-F2EFCEEEA2BB}" srcOrd="0" destOrd="0" parTransId="{D96D4FA5-1884-8446-AC1E-F206095F2A8D}" sibTransId="{D7169502-36E2-1A4D-9CFF-ED664CB47354}"/>
    <dgm:cxn modelId="{9587C1D4-BBEC-104D-BA89-7716AE832DF4}" srcId="{A4F9DA59-B867-DD41-95AF-EB28DA1B8E24}" destId="{1642D2A4-FC56-5842-A497-784062C74353}" srcOrd="0" destOrd="0" parTransId="{C002337A-E33C-FC49-9C3B-E42535672019}" sibTransId="{856347CE-1CF4-B14C-BCF7-D6CA9B32DFAF}"/>
    <dgm:cxn modelId="{A149F586-9559-45DF-BB21-977DBF07F6DE}" type="presOf" srcId="{216218D4-7BAD-244E-AEB3-EA028372240C}" destId="{55FA4650-3B76-C843-98CA-970B6F8F2D4B}" srcOrd="0" destOrd="1" presId="urn:microsoft.com/office/officeart/2005/8/layout/vList5"/>
    <dgm:cxn modelId="{BD3ABFB1-4D07-4AB6-B707-703BF51A43D3}" srcId="{328AB9E3-F06B-D946-AF3B-068224F78BE8}" destId="{5D4ECC91-C363-451E-B050-0135F5E03C8E}" srcOrd="5" destOrd="0" parTransId="{6CCE3A26-A55F-4812-B335-9061C1797071}" sibTransId="{3F1A0F8C-706E-429F-AFA0-78FAEFAAC8D1}"/>
    <dgm:cxn modelId="{5EBE74B6-F713-4040-9820-82AF6E907726}" type="presOf" srcId="{55675564-DE37-3D47-BCBF-ACE85AED7C3B}" destId="{55FA4650-3B76-C843-98CA-970B6F8F2D4B}" srcOrd="0" destOrd="2" presId="urn:microsoft.com/office/officeart/2005/8/layout/vList5"/>
    <dgm:cxn modelId="{E2C71F03-01D1-4533-B28C-61A37FA79F7F}" type="presOf" srcId="{560E78AD-CA29-1E41-AA7E-90D0734AD58C}" destId="{55FA4650-3B76-C843-98CA-970B6F8F2D4B}" srcOrd="0" destOrd="0" presId="urn:microsoft.com/office/officeart/2005/8/layout/vList5"/>
    <dgm:cxn modelId="{3B33A666-DC7B-5A41-A204-8CBA120C2288}" srcId="{328AB9E3-F06B-D946-AF3B-068224F78BE8}" destId="{216218D4-7BAD-244E-AEB3-EA028372240C}" srcOrd="1" destOrd="0" parTransId="{ABC9D446-F25C-5F4B-9EB9-AC75082427A0}" sibTransId="{398B7AC6-81FC-6240-A220-5795E97B9332}"/>
    <dgm:cxn modelId="{2FAED4F0-C73D-584E-B4B4-B774859A458D}" srcId="{328AB9E3-F06B-D946-AF3B-068224F78BE8}" destId="{55675564-DE37-3D47-BCBF-ACE85AED7C3B}" srcOrd="2" destOrd="0" parTransId="{E79D3756-A504-104E-9B78-C1D22B0231F1}" sibTransId="{33B3FBB5-2949-934E-BEB2-171DCB4EAA06}"/>
    <dgm:cxn modelId="{FCF3AB49-6CE6-1040-B597-9DA2986554F4}" srcId="{0FFD1D74-E9FE-354B-9D51-285A483A2DEA}" destId="{A4F9DA59-B867-DD41-95AF-EB28DA1B8E24}" srcOrd="1" destOrd="0" parTransId="{2D84F1DE-25D1-A349-8DBF-5459847530EA}" sibTransId="{65E91B63-940D-E843-B0DA-4FBA51A7F3FD}"/>
    <dgm:cxn modelId="{06F3B6D8-8AFC-4C15-AA2F-67D29E953AED}" type="presOf" srcId="{328AB9E3-F06B-D946-AF3B-068224F78BE8}" destId="{7AB942F5-9D54-564A-9C0A-7E13737258B9}" srcOrd="0" destOrd="0" presId="urn:microsoft.com/office/officeart/2005/8/layout/vList5"/>
    <dgm:cxn modelId="{05B45B6A-16AA-4EF4-9F7E-30AD38C8754E}" type="presOf" srcId="{3BE984C9-160E-5A47-A530-4931D6FE26A2}" destId="{55FA4650-3B76-C843-98CA-970B6F8F2D4B}" srcOrd="0" destOrd="3" presId="urn:microsoft.com/office/officeart/2005/8/layout/vList5"/>
    <dgm:cxn modelId="{13692FAC-5A0B-4B01-B034-D762F0628F4C}" type="presOf" srcId="{6883D43C-CBC2-BE49-A64B-F2EFCEEEA2BB}" destId="{E64BE35F-1A42-F742-9E99-A37BC27A23EE}" srcOrd="0" destOrd="0" presId="urn:microsoft.com/office/officeart/2005/8/layout/vList5"/>
    <dgm:cxn modelId="{4808DB73-D30F-E64C-9116-7B164FE10EFC}" srcId="{308D0244-75D0-664E-8392-2B649EFC7869}" destId="{C88E56C6-81CF-4941-9A3A-5DFF045F171F}" srcOrd="2" destOrd="0" parTransId="{EA0D40C7-0D9B-874E-A198-3EED87C33A46}" sibTransId="{7149A399-2500-5649-9FF3-51E4502E38EC}"/>
    <dgm:cxn modelId="{C0DF3AC3-8AED-4961-98AD-6992824BBC2A}" type="presParOf" srcId="{54CEA6CA-6A01-3C48-83B1-655FB8074FE2}" destId="{655DA8D4-4792-D443-BF07-F4F0A22C351B}" srcOrd="0" destOrd="0" presId="urn:microsoft.com/office/officeart/2005/8/layout/vList5"/>
    <dgm:cxn modelId="{9F3BFE3C-8969-4DB6-AE37-903D95E1B02C}" type="presParOf" srcId="{655DA8D4-4792-D443-BF07-F4F0A22C351B}" destId="{AA07C85F-1CFC-2143-965B-A96F06AB085A}" srcOrd="0" destOrd="0" presId="urn:microsoft.com/office/officeart/2005/8/layout/vList5"/>
    <dgm:cxn modelId="{0D165D22-EDFD-4D96-A4B1-7253691A8001}" type="presParOf" srcId="{655DA8D4-4792-D443-BF07-F4F0A22C351B}" destId="{E64BE35F-1A42-F742-9E99-A37BC27A23EE}" srcOrd="1" destOrd="0" presId="urn:microsoft.com/office/officeart/2005/8/layout/vList5"/>
    <dgm:cxn modelId="{2A39F27A-F9DE-4DD3-81F3-FAC6449AE833}" type="presParOf" srcId="{54CEA6CA-6A01-3C48-83B1-655FB8074FE2}" destId="{5AB97644-229A-C942-BA4B-175076C9E472}" srcOrd="1" destOrd="0" presId="urn:microsoft.com/office/officeart/2005/8/layout/vList5"/>
    <dgm:cxn modelId="{68302FCC-525F-4D9C-A8B1-52F7353638E1}" type="presParOf" srcId="{54CEA6CA-6A01-3C48-83B1-655FB8074FE2}" destId="{2583F540-AEED-5844-91BB-571F941A3440}" srcOrd="2" destOrd="0" presId="urn:microsoft.com/office/officeart/2005/8/layout/vList5"/>
    <dgm:cxn modelId="{CD7D126A-8BC0-4B4A-94C3-92D2C4629010}" type="presParOf" srcId="{2583F540-AEED-5844-91BB-571F941A3440}" destId="{2B1EBE99-F4C1-3843-A868-DCC6AFA77D9D}" srcOrd="0" destOrd="0" presId="urn:microsoft.com/office/officeart/2005/8/layout/vList5"/>
    <dgm:cxn modelId="{7FB06894-78A6-4FB4-898A-C2EC1FCE18C8}" type="presParOf" srcId="{2583F540-AEED-5844-91BB-571F941A3440}" destId="{32773E47-C793-1A4B-AFC9-20276182B831}" srcOrd="1" destOrd="0" presId="urn:microsoft.com/office/officeart/2005/8/layout/vList5"/>
    <dgm:cxn modelId="{3FEEBDEE-65A9-429A-93CE-516EC555C610}" type="presParOf" srcId="{54CEA6CA-6A01-3C48-83B1-655FB8074FE2}" destId="{2C660F23-4838-2743-BA2A-524D2F0BA4FC}" srcOrd="3" destOrd="0" presId="urn:microsoft.com/office/officeart/2005/8/layout/vList5"/>
    <dgm:cxn modelId="{4697AE32-7DB0-41F8-990C-381003CCB6E8}" type="presParOf" srcId="{54CEA6CA-6A01-3C48-83B1-655FB8074FE2}" destId="{1E8DA505-DA83-9045-B5CA-49F7D3AB880B}" srcOrd="4" destOrd="0" presId="urn:microsoft.com/office/officeart/2005/8/layout/vList5"/>
    <dgm:cxn modelId="{689F16D1-F01E-4F7E-87A0-6E479555B069}" type="presParOf" srcId="{1E8DA505-DA83-9045-B5CA-49F7D3AB880B}" destId="{7AB942F5-9D54-564A-9C0A-7E13737258B9}" srcOrd="0" destOrd="0" presId="urn:microsoft.com/office/officeart/2005/8/layout/vList5"/>
    <dgm:cxn modelId="{31374D37-B51E-43D0-AE90-BA8DC9EFE136}" type="presParOf" srcId="{1E8DA505-DA83-9045-B5CA-49F7D3AB880B}" destId="{55FA4650-3B76-C843-98CA-970B6F8F2D4B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2CEE5A0B-4D53-EE4B-B503-14A4FBF654AB}" type="doc">
      <dgm:prSet loTypeId="urn:microsoft.com/office/officeart/2005/8/layout/vList5" loCatId="" qsTypeId="urn:microsoft.com/office/officeart/2005/8/quickstyle/simple4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B5B23087-DA11-4F43-A6A0-48D421C14AB8}">
      <dgm:prSet custT="1"/>
      <dgm:spPr>
        <a:xfrm>
          <a:off x="0" y="10485"/>
          <a:ext cx="1878696" cy="779804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/>
          <a:r>
            <a:rPr lang="en-GB" sz="20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Coordination</a:t>
          </a:r>
          <a:endParaRPr lang="en-GB" sz="20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4104AB90-7962-3B4F-9210-B9E46D4EFD9E}" type="parTrans" cxnId="{1CF093C9-0703-814E-97DF-D3F67ADA3A21}">
      <dgm:prSet/>
      <dgm:spPr/>
      <dgm:t>
        <a:bodyPr/>
        <a:lstStyle/>
        <a:p>
          <a:endParaRPr lang="it-IT" sz="3600"/>
        </a:p>
      </dgm:t>
    </dgm:pt>
    <dgm:pt modelId="{AD79A85E-76FD-8048-870A-A2FE3AAFBCFD}" type="sibTrans" cxnId="{1CF093C9-0703-814E-97DF-D3F67ADA3A21}">
      <dgm:prSet/>
      <dgm:spPr/>
      <dgm:t>
        <a:bodyPr/>
        <a:lstStyle/>
        <a:p>
          <a:endParaRPr lang="it-IT" sz="3600"/>
        </a:p>
      </dgm:t>
    </dgm:pt>
    <dgm:pt modelId="{39C7DCFC-398E-F54F-BD71-4D5BAB290D06}">
      <dgm:prSet custT="1"/>
      <dgm:spPr>
        <a:xfrm rot="5400000">
          <a:off x="4506164" y="-2566976"/>
          <a:ext cx="794251" cy="5934729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The new unemployment benefit scheme (NASpI)</a:t>
          </a:r>
          <a:endParaRPr lang="en-GB" sz="17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3C00385C-0D25-C248-B5D9-30F4A35B48DF}" type="parTrans" cxnId="{698356B3-C49D-A240-B5EA-D8BC92094C84}">
      <dgm:prSet/>
      <dgm:spPr/>
      <dgm:t>
        <a:bodyPr/>
        <a:lstStyle/>
        <a:p>
          <a:endParaRPr lang="it-IT" sz="3600"/>
        </a:p>
      </dgm:t>
    </dgm:pt>
    <dgm:pt modelId="{09A8B3CA-6474-724D-80C8-CD8469399518}" type="sibTrans" cxnId="{698356B3-C49D-A240-B5EA-D8BC92094C84}">
      <dgm:prSet/>
      <dgm:spPr/>
      <dgm:t>
        <a:bodyPr/>
        <a:lstStyle/>
        <a:p>
          <a:endParaRPr lang="it-IT" sz="3600"/>
        </a:p>
      </dgm:t>
    </dgm:pt>
    <dgm:pt modelId="{902142BD-B6BC-4E4D-A0EC-312C977D2DF0}">
      <dgm:prSet custT="1"/>
      <dgm:spPr>
        <a:xfrm rot="5400000">
          <a:off x="4506164" y="-2566976"/>
          <a:ext cx="794251" cy="5934729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ES, including those for disabled;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F39D9059-8E84-AD4F-9DEF-7E1E484B8A80}" type="parTrans" cxnId="{2F397D60-547B-E348-BF20-FAB1A6EE39E5}">
      <dgm:prSet/>
      <dgm:spPr/>
      <dgm:t>
        <a:bodyPr/>
        <a:lstStyle/>
        <a:p>
          <a:endParaRPr lang="it-IT" sz="3600"/>
        </a:p>
      </dgm:t>
    </dgm:pt>
    <dgm:pt modelId="{5B02F00C-A6EF-0D4B-80E2-7BBAD0B1EF22}" type="sibTrans" cxnId="{2F397D60-547B-E348-BF20-FAB1A6EE39E5}">
      <dgm:prSet/>
      <dgm:spPr/>
      <dgm:t>
        <a:bodyPr/>
        <a:lstStyle/>
        <a:p>
          <a:endParaRPr lang="it-IT" sz="3600"/>
        </a:p>
      </dgm:t>
    </dgm:pt>
    <dgm:pt modelId="{6401B874-5C86-4D41-8D53-A6D63B081713}">
      <dgm:prSet custT="1"/>
      <dgm:spPr>
        <a:xfrm rot="5400000">
          <a:off x="4506164" y="-2566976"/>
          <a:ext cx="794251" cy="5934729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ESF programming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A7A45AFA-FCC7-514D-8C88-3315B3D2BC73}" type="parTrans" cxnId="{DBD28BF2-3A79-FD42-9009-E49E6DC7547C}">
      <dgm:prSet/>
      <dgm:spPr/>
      <dgm:t>
        <a:bodyPr/>
        <a:lstStyle/>
        <a:p>
          <a:endParaRPr lang="it-IT" sz="3600"/>
        </a:p>
      </dgm:t>
    </dgm:pt>
    <dgm:pt modelId="{8F77C008-A243-9F43-82BA-C44DEBA1005C}" type="sibTrans" cxnId="{DBD28BF2-3A79-FD42-9009-E49E6DC7547C}">
      <dgm:prSet/>
      <dgm:spPr/>
      <dgm:t>
        <a:bodyPr/>
        <a:lstStyle/>
        <a:p>
          <a:endParaRPr lang="it-IT" sz="3600"/>
        </a:p>
      </dgm:t>
    </dgm:pt>
    <dgm:pt modelId="{C2EF94A2-2C8C-564B-9FD7-9E800F9E5EBE}">
      <dgm:prSet custT="1"/>
      <dgm:spPr>
        <a:xfrm>
          <a:off x="0" y="846767"/>
          <a:ext cx="1876861" cy="1283811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/>
          <a:r>
            <a:rPr lang="en-GB" sz="20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Definition of  common tools</a:t>
          </a:r>
          <a:endParaRPr lang="en-GB" sz="20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47DF40CC-5CAC-2D4D-9CC1-1B473AC7FDA3}" type="parTrans" cxnId="{410EC1E0-9B04-2E4C-9FF4-B91A4955F012}">
      <dgm:prSet/>
      <dgm:spPr/>
      <dgm:t>
        <a:bodyPr/>
        <a:lstStyle/>
        <a:p>
          <a:endParaRPr lang="it-IT" sz="3600"/>
        </a:p>
      </dgm:t>
    </dgm:pt>
    <dgm:pt modelId="{A164F773-DA89-D341-AA1B-B9AF91356E3C}" type="sibTrans" cxnId="{410EC1E0-9B04-2E4C-9FF4-B91A4955F012}">
      <dgm:prSet/>
      <dgm:spPr/>
      <dgm:t>
        <a:bodyPr/>
        <a:lstStyle/>
        <a:p>
          <a:endParaRPr lang="it-IT" sz="3600"/>
        </a:p>
      </dgm:t>
    </dgm:pt>
    <dgm:pt modelId="{66A278CE-D7EB-3E4F-94EE-3CE2319783C6}">
      <dgm:prSet custT="1"/>
      <dgm:spPr>
        <a:xfrm rot="5400000">
          <a:off x="4409815" y="-1475793"/>
          <a:ext cx="97804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Service standards</a:t>
          </a:r>
          <a:endParaRPr lang="en-GB" sz="17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1AC01006-7EDF-324A-85C0-CE52D72E87E0}" type="parTrans" cxnId="{ABBE03E0-C168-E04A-A0E8-F2C55083D3E7}">
      <dgm:prSet/>
      <dgm:spPr/>
      <dgm:t>
        <a:bodyPr/>
        <a:lstStyle/>
        <a:p>
          <a:endParaRPr lang="it-IT" sz="3600"/>
        </a:p>
      </dgm:t>
    </dgm:pt>
    <dgm:pt modelId="{B402885F-5FF9-2E43-8F36-71E1FD7F87E5}" type="sibTrans" cxnId="{ABBE03E0-C168-E04A-A0E8-F2C55083D3E7}">
      <dgm:prSet/>
      <dgm:spPr/>
      <dgm:t>
        <a:bodyPr/>
        <a:lstStyle/>
        <a:p>
          <a:endParaRPr lang="it-IT" sz="3600"/>
        </a:p>
      </dgm:t>
    </dgm:pt>
    <dgm:pt modelId="{986F3990-B9C2-374A-8793-34F9D23438A3}">
      <dgm:prSet custT="1"/>
      <dgm:spPr>
        <a:xfrm rot="5400000">
          <a:off x="4409815" y="-1475793"/>
          <a:ext cx="97804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ofiling methodologies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03C32EAF-A765-6841-8E3C-7115F03193E7}" type="parTrans" cxnId="{FF8ADE0A-63AB-4649-AA61-060D3C773F08}">
      <dgm:prSet/>
      <dgm:spPr/>
      <dgm:t>
        <a:bodyPr/>
        <a:lstStyle/>
        <a:p>
          <a:endParaRPr lang="it-IT" sz="3600"/>
        </a:p>
      </dgm:t>
    </dgm:pt>
    <dgm:pt modelId="{EE753995-1E76-3640-90E3-67632FB5A8C9}" type="sibTrans" cxnId="{FF8ADE0A-63AB-4649-AA61-060D3C773F08}">
      <dgm:prSet/>
      <dgm:spPr/>
      <dgm:t>
        <a:bodyPr/>
        <a:lstStyle/>
        <a:p>
          <a:endParaRPr lang="it-IT" sz="3600"/>
        </a:p>
      </dgm:t>
    </dgm:pt>
    <dgm:pt modelId="{AEEA3BFF-AF9E-0E41-B7FA-7E811017F1D0}">
      <dgm:prSet custT="1"/>
      <dgm:spPr>
        <a:xfrm rot="5400000">
          <a:off x="4409815" y="-1475793"/>
          <a:ext cx="97804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Employment voucher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5C1B2AFA-887A-3042-A726-80EEAC3C62A0}" type="parTrans" cxnId="{5B27F4F0-D1BA-1644-9287-35D87AFE56D0}">
      <dgm:prSet/>
      <dgm:spPr/>
      <dgm:t>
        <a:bodyPr/>
        <a:lstStyle/>
        <a:p>
          <a:endParaRPr lang="it-IT" sz="3600"/>
        </a:p>
      </dgm:t>
    </dgm:pt>
    <dgm:pt modelId="{9B578DD5-CFF4-AC45-A625-7A46762FD053}" type="sibTrans" cxnId="{5B27F4F0-D1BA-1644-9287-35D87AFE56D0}">
      <dgm:prSet/>
      <dgm:spPr/>
      <dgm:t>
        <a:bodyPr/>
        <a:lstStyle/>
        <a:p>
          <a:endParaRPr lang="it-IT" sz="3600"/>
        </a:p>
      </dgm:t>
    </dgm:pt>
    <dgm:pt modelId="{A26F8121-831B-0041-B72F-AD99BB6294F8}">
      <dgm:prSet custT="1"/>
      <dgm:spPr>
        <a:xfrm rot="5400000">
          <a:off x="4409815" y="-1475793"/>
          <a:ext cx="97804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IT system for ALMP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0B7F327B-C1EA-5C43-97BE-1F9F747EC62A}" type="parTrans" cxnId="{00B31C64-4F0C-6B45-BFD6-FD2534ED06B5}">
      <dgm:prSet/>
      <dgm:spPr/>
      <dgm:t>
        <a:bodyPr/>
        <a:lstStyle/>
        <a:p>
          <a:endParaRPr lang="it-IT" sz="3600"/>
        </a:p>
      </dgm:t>
    </dgm:pt>
    <dgm:pt modelId="{385C8197-FB88-9C4F-919C-036BA600881A}" type="sibTrans" cxnId="{00B31C64-4F0C-6B45-BFD6-FD2534ED06B5}">
      <dgm:prSet/>
      <dgm:spPr/>
      <dgm:t>
        <a:bodyPr/>
        <a:lstStyle/>
        <a:p>
          <a:endParaRPr lang="it-IT" sz="3600"/>
        </a:p>
      </dgm:t>
    </dgm:pt>
    <dgm:pt modelId="{D5688338-6713-B740-8EA4-9765B37491D3}">
      <dgm:prSet custT="1"/>
      <dgm:spPr>
        <a:xfrm>
          <a:off x="0" y="2210792"/>
          <a:ext cx="1876861" cy="1063807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/>
          <a:r>
            <a:rPr lang="en-GB" sz="20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Management</a:t>
          </a:r>
          <a:endParaRPr lang="en-GB" sz="20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B0CB0555-84A3-A140-A848-5407A633D11D}" type="parTrans" cxnId="{B4292558-DD9E-FE42-85B1-07FB20E0F3B5}">
      <dgm:prSet/>
      <dgm:spPr/>
      <dgm:t>
        <a:bodyPr/>
        <a:lstStyle/>
        <a:p>
          <a:endParaRPr lang="it-IT" sz="3600"/>
        </a:p>
      </dgm:t>
    </dgm:pt>
    <dgm:pt modelId="{AAD6A10E-309E-F545-B7B2-649FCDE45841}" type="sibTrans" cxnId="{B4292558-DD9E-FE42-85B1-07FB20E0F3B5}">
      <dgm:prSet/>
      <dgm:spPr/>
      <dgm:t>
        <a:bodyPr/>
        <a:lstStyle/>
        <a:p>
          <a:endParaRPr lang="it-IT" sz="3600"/>
        </a:p>
      </dgm:t>
    </dgm:pt>
    <dgm:pt modelId="{F1FAFDC9-60AE-D748-8FF6-AC602DDFFE7F}">
      <dgm:prSet custT="1"/>
      <dgm:spPr>
        <a:xfrm rot="5400000">
          <a:off x="4335974" y="-221770"/>
          <a:ext cx="112572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National Operation Programmes (cofinanced by the ESF)</a:t>
          </a:r>
          <a:endParaRPr lang="en-GB" sz="17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243034B6-F21F-6645-9409-A0DBCBFD5B55}" type="parTrans" cxnId="{FEBE7E4D-5F15-6648-88D8-454E4FDC79CB}">
      <dgm:prSet/>
      <dgm:spPr/>
      <dgm:t>
        <a:bodyPr/>
        <a:lstStyle/>
        <a:p>
          <a:endParaRPr lang="it-IT" sz="3600"/>
        </a:p>
      </dgm:t>
    </dgm:pt>
    <dgm:pt modelId="{0781FF9B-8EE5-E84E-8153-BC3834A9502B}" type="sibTrans" cxnId="{FEBE7E4D-5F15-6648-88D8-454E4FDC79CB}">
      <dgm:prSet/>
      <dgm:spPr/>
      <dgm:t>
        <a:bodyPr/>
        <a:lstStyle/>
        <a:p>
          <a:endParaRPr lang="it-IT" sz="3600"/>
        </a:p>
      </dgm:t>
    </dgm:pt>
    <dgm:pt modelId="{84CED370-C469-6442-9879-05A122B2E548}">
      <dgm:prSet custT="1"/>
      <dgm:spPr>
        <a:xfrm rot="5400000">
          <a:off x="4335974" y="-221770"/>
          <a:ext cx="112572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ogrammes for crisis management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E85D3EEC-ABE7-294E-A862-E360399F905E}" type="parTrans" cxnId="{742E835F-5979-4A4D-9552-EE84CEA87946}">
      <dgm:prSet/>
      <dgm:spPr/>
      <dgm:t>
        <a:bodyPr/>
        <a:lstStyle/>
        <a:p>
          <a:endParaRPr lang="it-IT" sz="3600"/>
        </a:p>
      </dgm:t>
    </dgm:pt>
    <dgm:pt modelId="{F6BB605F-01CA-964F-A42F-BE83047790A2}" type="sibTrans" cxnId="{742E835F-5979-4A4D-9552-EE84CEA87946}">
      <dgm:prSet/>
      <dgm:spPr/>
      <dgm:t>
        <a:bodyPr/>
        <a:lstStyle/>
        <a:p>
          <a:endParaRPr lang="it-IT" sz="3600"/>
        </a:p>
      </dgm:t>
    </dgm:pt>
    <dgm:pt modelId="{0181EE4E-53B9-A94C-A0AD-147843A60189}">
      <dgm:prSet custT="1"/>
      <dgm:spPr>
        <a:xfrm rot="5400000">
          <a:off x="4335974" y="-221770"/>
          <a:ext cx="112572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Experimental ALMP programmes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22077EF8-E4F0-CC40-BD93-686F93E5870D}" type="parTrans" cxnId="{51938959-5C8C-1E47-A7C8-C1157DBF88AA}">
      <dgm:prSet/>
      <dgm:spPr/>
      <dgm:t>
        <a:bodyPr/>
        <a:lstStyle/>
        <a:p>
          <a:endParaRPr lang="it-IT" sz="3600"/>
        </a:p>
      </dgm:t>
    </dgm:pt>
    <dgm:pt modelId="{AD9F2307-9809-9749-955D-57DFD9366F54}" type="sibTrans" cxnId="{51938959-5C8C-1E47-A7C8-C1157DBF88AA}">
      <dgm:prSet/>
      <dgm:spPr/>
      <dgm:t>
        <a:bodyPr/>
        <a:lstStyle/>
        <a:p>
          <a:endParaRPr lang="it-IT" sz="3600"/>
        </a:p>
      </dgm:t>
    </dgm:pt>
    <dgm:pt modelId="{F9B61C9D-440F-DA4C-99D6-622A85ECCD19}">
      <dgm:prSet custT="1"/>
      <dgm:spPr>
        <a:xfrm rot="5400000">
          <a:off x="4335974" y="-221770"/>
          <a:ext cx="112572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ogrammes aimed at improving regional performances</a:t>
          </a:r>
          <a:endParaRPr lang="en-GB" sz="17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7266710F-B14B-DC46-B46E-9DEEB9C3519A}" type="parTrans" cxnId="{4F456C63-78C5-7B43-ADDC-AEC3424E55E6}">
      <dgm:prSet/>
      <dgm:spPr/>
      <dgm:t>
        <a:bodyPr/>
        <a:lstStyle/>
        <a:p>
          <a:endParaRPr lang="it-IT" sz="3600"/>
        </a:p>
      </dgm:t>
    </dgm:pt>
    <dgm:pt modelId="{0C5F98FE-EA83-354C-9F11-004D396CF3B7}" type="sibTrans" cxnId="{4F456C63-78C5-7B43-ADDC-AEC3424E55E6}">
      <dgm:prSet/>
      <dgm:spPr/>
      <dgm:t>
        <a:bodyPr/>
        <a:lstStyle/>
        <a:p>
          <a:endParaRPr lang="it-IT" sz="3600"/>
        </a:p>
      </dgm:t>
    </dgm:pt>
    <dgm:pt modelId="{5D63B638-AB35-F241-B5DC-771D4A616EF6}">
      <dgm:prSet custT="1"/>
      <dgm:spPr>
        <a:xfrm>
          <a:off x="0" y="3354813"/>
          <a:ext cx="1878696" cy="582171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gm:spPr>
      <dgm:t>
        <a:bodyPr/>
        <a:lstStyle/>
        <a:p>
          <a:pPr rtl="0"/>
          <a:r>
            <a:rPr lang="en-GB" sz="20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Monitoring</a:t>
          </a:r>
          <a:endParaRPr lang="en-GB" sz="20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gm:t>
    </dgm:pt>
    <dgm:pt modelId="{05C33368-38D6-FE4E-B2A4-441753F3A8A4}" type="parTrans" cxnId="{1A04CF1E-C4FF-5044-AD36-0B27F43E0AE8}">
      <dgm:prSet/>
      <dgm:spPr/>
      <dgm:t>
        <a:bodyPr/>
        <a:lstStyle/>
        <a:p>
          <a:endParaRPr lang="it-IT" sz="3600"/>
        </a:p>
      </dgm:t>
    </dgm:pt>
    <dgm:pt modelId="{490FE374-A76D-D942-A36A-06D7C1DC8F3E}" type="sibTrans" cxnId="{1A04CF1E-C4FF-5044-AD36-0B27F43E0AE8}">
      <dgm:prSet/>
      <dgm:spPr/>
      <dgm:t>
        <a:bodyPr/>
        <a:lstStyle/>
        <a:p>
          <a:endParaRPr lang="it-IT" sz="3600"/>
        </a:p>
      </dgm:t>
    </dgm:pt>
    <dgm:pt modelId="{2BCCC97E-0129-C34E-A746-26C31EE8D37D}">
      <dgm:prSet custT="1"/>
      <dgm:spPr>
        <a:xfrm rot="5400000">
          <a:off x="4670417" y="678535"/>
          <a:ext cx="465745" cy="5934729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en-GB" sz="17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Bilateral Funds for the training of workers</a:t>
          </a:r>
          <a:endParaRPr lang="en-GB" sz="17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gm:t>
    </dgm:pt>
    <dgm:pt modelId="{65785964-05C9-254B-89FD-CC24C472F4A3}" type="parTrans" cxnId="{98F749F6-2FAC-9F45-9C17-DAEB202BC915}">
      <dgm:prSet/>
      <dgm:spPr/>
      <dgm:t>
        <a:bodyPr/>
        <a:lstStyle/>
        <a:p>
          <a:endParaRPr lang="it-IT" sz="3600"/>
        </a:p>
      </dgm:t>
    </dgm:pt>
    <dgm:pt modelId="{D596C60B-1B67-3149-827B-E6809D52B3F0}" type="sibTrans" cxnId="{98F749F6-2FAC-9F45-9C17-DAEB202BC915}">
      <dgm:prSet/>
      <dgm:spPr/>
      <dgm:t>
        <a:bodyPr/>
        <a:lstStyle/>
        <a:p>
          <a:endParaRPr lang="it-IT" sz="3600"/>
        </a:p>
      </dgm:t>
    </dgm:pt>
    <dgm:pt modelId="{1812D59D-AA12-094C-BEBE-AC7A2E635D55}" type="pres">
      <dgm:prSet presAssocID="{2CEE5A0B-4D53-EE4B-B503-14A4FBF654AB}" presName="Name0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2D4EF740-F00C-BD44-87CA-9542736154CB}" type="pres">
      <dgm:prSet presAssocID="{B5B23087-DA11-4F43-A6A0-48D421C14AB8}" presName="linNode" presStyleCnt="0"/>
      <dgm:spPr/>
    </dgm:pt>
    <dgm:pt modelId="{867287C8-5658-2943-8711-A81604E05C5A}" type="pres">
      <dgm:prSet presAssocID="{B5B23087-DA11-4F43-A6A0-48D421C14AB8}" presName="parentText" presStyleLbl="node1" presStyleIdx="0" presStyleCnt="4" custScaleX="61367" custScaleY="79163" custLinFactNeighborX="-10465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CD0D41E2-96B2-E44D-A2FF-B761B115596A}" type="pres">
      <dgm:prSet presAssocID="{B5B23087-DA11-4F43-A6A0-48D421C14AB8}" presName="descendantText" presStyleLbl="alignAccFollowNode1" presStyleIdx="0" presStyleCnt="4" custScaleX="109044" custScaleY="100787" custLinFactNeighborX="-940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ED164964-1DA6-AA4E-A122-F54A143E7F75}" type="pres">
      <dgm:prSet presAssocID="{AD79A85E-76FD-8048-870A-A2FE3AAFBCFD}" presName="sp" presStyleCnt="0"/>
      <dgm:spPr/>
    </dgm:pt>
    <dgm:pt modelId="{9B148214-CABA-0347-A3E6-A0E02BEC616B}" type="pres">
      <dgm:prSet presAssocID="{C2EF94A2-2C8C-564B-9FD7-9E800F9E5EBE}" presName="linNode" presStyleCnt="0"/>
      <dgm:spPr/>
    </dgm:pt>
    <dgm:pt modelId="{CE13CA5C-8308-A440-B29A-430BC651571C}" type="pres">
      <dgm:prSet presAssocID="{C2EF94A2-2C8C-564B-9FD7-9E800F9E5EBE}" presName="parentText" presStyleLbl="node1" presStyleIdx="1" presStyleCnt="4" custScaleX="61367" custScaleY="130328" custLinFactNeighborX="-10465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1D8BB60-5737-B54D-9C1B-DF29CBFA0890}" type="pres">
      <dgm:prSet presAssocID="{C2EF94A2-2C8C-564B-9FD7-9E800F9E5EBE}" presName="descendantText" presStyleLbl="alignAccFollowNode1" presStyleIdx="1" presStyleCnt="4" custScaleX="109044" custScaleY="124110" custLinFactNeighborX="-940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79D76693-C18B-2B4D-A0B8-9405DD9D3065}" type="pres">
      <dgm:prSet presAssocID="{A164F773-DA89-D341-AA1B-B9AF91356E3C}" presName="sp" presStyleCnt="0"/>
      <dgm:spPr/>
    </dgm:pt>
    <dgm:pt modelId="{7C978326-8B45-8845-B307-644453C9751A}" type="pres">
      <dgm:prSet presAssocID="{D5688338-6713-B740-8EA4-9765B37491D3}" presName="linNode" presStyleCnt="0"/>
      <dgm:spPr/>
    </dgm:pt>
    <dgm:pt modelId="{F84727A8-4A8C-E444-B326-95241EA0DF96}" type="pres">
      <dgm:prSet presAssocID="{D5688338-6713-B740-8EA4-9765B37491D3}" presName="parentText" presStyleLbl="node1" presStyleIdx="2" presStyleCnt="4" custScaleX="61367" custScaleY="107994" custLinFactNeighborX="-10465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C12D396-5422-2B4B-A600-7E874EAB7801}" type="pres">
      <dgm:prSet presAssocID="{D5688338-6713-B740-8EA4-9765B37491D3}" presName="descendantText" presStyleLbl="alignAccFollowNode1" presStyleIdx="2" presStyleCnt="4" custScaleX="109044" custScaleY="142850" custLinFactNeighborX="-940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5527E0DF-F86A-EA49-B173-31E8998D2DD6}" type="pres">
      <dgm:prSet presAssocID="{AAD6A10E-309E-F545-B7B2-649FCDE45841}" presName="sp" presStyleCnt="0"/>
      <dgm:spPr/>
    </dgm:pt>
    <dgm:pt modelId="{ED1647E2-4DFD-FE40-8AF6-71D97AC67273}" type="pres">
      <dgm:prSet presAssocID="{5D63B638-AB35-F241-B5DC-771D4A616EF6}" presName="linNode" presStyleCnt="0"/>
      <dgm:spPr/>
    </dgm:pt>
    <dgm:pt modelId="{94A5D2FB-58E3-5341-8FFB-1C16924EB529}" type="pres">
      <dgm:prSet presAssocID="{5D63B638-AB35-F241-B5DC-771D4A616EF6}" presName="parentText" presStyleLbl="node1" presStyleIdx="3" presStyleCnt="4" custScaleX="61367" custScaleY="59100" custLinFactNeighborX="-10465">
        <dgm:presLayoutVars>
          <dgm:chMax val="1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C58AB84-E75C-2D43-867C-84635320F92E}" type="pres">
      <dgm:prSet presAssocID="{5D63B638-AB35-F241-B5DC-771D4A616EF6}" presName="descendantText" presStyleLbl="alignAccFollowNode1" presStyleIdx="3" presStyleCnt="4" custScaleX="109044" custScaleY="59101" custLinFactNeighborX="-940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A35C910C-6CF6-439C-8CF4-1C75C45EAD8F}" type="presOf" srcId="{D5688338-6713-B740-8EA4-9765B37491D3}" destId="{F84727A8-4A8C-E444-B326-95241EA0DF96}" srcOrd="0" destOrd="0" presId="urn:microsoft.com/office/officeart/2005/8/layout/vList5"/>
    <dgm:cxn modelId="{EA763F36-848A-4BF7-950A-953E653E3083}" type="presOf" srcId="{0181EE4E-53B9-A94C-A0AD-147843A60189}" destId="{2C12D396-5422-2B4B-A600-7E874EAB7801}" srcOrd="0" destOrd="2" presId="urn:microsoft.com/office/officeart/2005/8/layout/vList5"/>
    <dgm:cxn modelId="{F1B2B7CB-EC88-4DA8-BBFF-8BA3C005395D}" type="presOf" srcId="{986F3990-B9C2-374A-8793-34F9D23438A3}" destId="{21D8BB60-5737-B54D-9C1B-DF29CBFA0890}" srcOrd="0" destOrd="1" presId="urn:microsoft.com/office/officeart/2005/8/layout/vList5"/>
    <dgm:cxn modelId="{528393FD-B824-4123-B646-76C4C1743A53}" type="presOf" srcId="{B5B23087-DA11-4F43-A6A0-48D421C14AB8}" destId="{867287C8-5658-2943-8711-A81604E05C5A}" srcOrd="0" destOrd="0" presId="urn:microsoft.com/office/officeart/2005/8/layout/vList5"/>
    <dgm:cxn modelId="{5B27F4F0-D1BA-1644-9287-35D87AFE56D0}" srcId="{C2EF94A2-2C8C-564B-9FD7-9E800F9E5EBE}" destId="{AEEA3BFF-AF9E-0E41-B7FA-7E811017F1D0}" srcOrd="2" destOrd="0" parTransId="{5C1B2AFA-887A-3042-A726-80EEAC3C62A0}" sibTransId="{9B578DD5-CFF4-AC45-A625-7A46762FD053}"/>
    <dgm:cxn modelId="{1A04CF1E-C4FF-5044-AD36-0B27F43E0AE8}" srcId="{2CEE5A0B-4D53-EE4B-B503-14A4FBF654AB}" destId="{5D63B638-AB35-F241-B5DC-771D4A616EF6}" srcOrd="3" destOrd="0" parTransId="{05C33368-38D6-FE4E-B2A4-441753F3A8A4}" sibTransId="{490FE374-A76D-D942-A36A-06D7C1DC8F3E}"/>
    <dgm:cxn modelId="{8DB0986E-2096-47AA-8081-24DE0DAAEF74}" type="presOf" srcId="{5D63B638-AB35-F241-B5DC-771D4A616EF6}" destId="{94A5D2FB-58E3-5341-8FFB-1C16924EB529}" srcOrd="0" destOrd="0" presId="urn:microsoft.com/office/officeart/2005/8/layout/vList5"/>
    <dgm:cxn modelId="{4F456C63-78C5-7B43-ADDC-AEC3424E55E6}" srcId="{D5688338-6713-B740-8EA4-9765B37491D3}" destId="{F9B61C9D-440F-DA4C-99D6-622A85ECCD19}" srcOrd="3" destOrd="0" parTransId="{7266710F-B14B-DC46-B46E-9DEEB9C3519A}" sibTransId="{0C5F98FE-EA83-354C-9F11-004D396CF3B7}"/>
    <dgm:cxn modelId="{98F749F6-2FAC-9F45-9C17-DAEB202BC915}" srcId="{5D63B638-AB35-F241-B5DC-771D4A616EF6}" destId="{2BCCC97E-0129-C34E-A746-26C31EE8D37D}" srcOrd="0" destOrd="0" parTransId="{65785964-05C9-254B-89FD-CC24C472F4A3}" sibTransId="{D596C60B-1B67-3149-827B-E6809D52B3F0}"/>
    <dgm:cxn modelId="{9FDADF54-A31D-48C9-83D1-DFDEDBEE629B}" type="presOf" srcId="{AEEA3BFF-AF9E-0E41-B7FA-7E811017F1D0}" destId="{21D8BB60-5737-B54D-9C1B-DF29CBFA0890}" srcOrd="0" destOrd="2" presId="urn:microsoft.com/office/officeart/2005/8/layout/vList5"/>
    <dgm:cxn modelId="{DBD28BF2-3A79-FD42-9009-E49E6DC7547C}" srcId="{B5B23087-DA11-4F43-A6A0-48D421C14AB8}" destId="{6401B874-5C86-4D41-8D53-A6D63B081713}" srcOrd="2" destOrd="0" parTransId="{A7A45AFA-FCC7-514D-8C88-3315B3D2BC73}" sibTransId="{8F77C008-A243-9F43-82BA-C44DEBA1005C}"/>
    <dgm:cxn modelId="{742E835F-5979-4A4D-9552-EE84CEA87946}" srcId="{D5688338-6713-B740-8EA4-9765B37491D3}" destId="{84CED370-C469-6442-9879-05A122B2E548}" srcOrd="1" destOrd="0" parTransId="{E85D3EEC-ABE7-294E-A862-E360399F905E}" sibTransId="{F6BB605F-01CA-964F-A42F-BE83047790A2}"/>
    <dgm:cxn modelId="{B4292558-DD9E-FE42-85B1-07FB20E0F3B5}" srcId="{2CEE5A0B-4D53-EE4B-B503-14A4FBF654AB}" destId="{D5688338-6713-B740-8EA4-9765B37491D3}" srcOrd="2" destOrd="0" parTransId="{B0CB0555-84A3-A140-A848-5407A633D11D}" sibTransId="{AAD6A10E-309E-F545-B7B2-649FCDE45841}"/>
    <dgm:cxn modelId="{A61DA26B-50D2-45AB-9331-611CBA4EF9AA}" type="presOf" srcId="{2BCCC97E-0129-C34E-A746-26C31EE8D37D}" destId="{DC58AB84-E75C-2D43-867C-84635320F92E}" srcOrd="0" destOrd="0" presId="urn:microsoft.com/office/officeart/2005/8/layout/vList5"/>
    <dgm:cxn modelId="{B18FA089-4087-4197-AAFD-7998BF4B35FF}" type="presOf" srcId="{66A278CE-D7EB-3E4F-94EE-3CE2319783C6}" destId="{21D8BB60-5737-B54D-9C1B-DF29CBFA0890}" srcOrd="0" destOrd="0" presId="urn:microsoft.com/office/officeart/2005/8/layout/vList5"/>
    <dgm:cxn modelId="{BE1F1136-CA91-4B91-B5A0-3F7AE15EA929}" type="presOf" srcId="{2CEE5A0B-4D53-EE4B-B503-14A4FBF654AB}" destId="{1812D59D-AA12-094C-BEBE-AC7A2E635D55}" srcOrd="0" destOrd="0" presId="urn:microsoft.com/office/officeart/2005/8/layout/vList5"/>
    <dgm:cxn modelId="{51938959-5C8C-1E47-A7C8-C1157DBF88AA}" srcId="{D5688338-6713-B740-8EA4-9765B37491D3}" destId="{0181EE4E-53B9-A94C-A0AD-147843A60189}" srcOrd="2" destOrd="0" parTransId="{22077EF8-E4F0-CC40-BD93-686F93E5870D}" sibTransId="{AD9F2307-9809-9749-955D-57DFD9366F54}"/>
    <dgm:cxn modelId="{53440A40-B600-47F1-ABB4-C06B798977FE}" type="presOf" srcId="{84CED370-C469-6442-9879-05A122B2E548}" destId="{2C12D396-5422-2B4B-A600-7E874EAB7801}" srcOrd="0" destOrd="1" presId="urn:microsoft.com/office/officeart/2005/8/layout/vList5"/>
    <dgm:cxn modelId="{ABBE03E0-C168-E04A-A0E8-F2C55083D3E7}" srcId="{C2EF94A2-2C8C-564B-9FD7-9E800F9E5EBE}" destId="{66A278CE-D7EB-3E4F-94EE-3CE2319783C6}" srcOrd="0" destOrd="0" parTransId="{1AC01006-7EDF-324A-85C0-CE52D72E87E0}" sibTransId="{B402885F-5FF9-2E43-8F36-71E1FD7F87E5}"/>
    <dgm:cxn modelId="{24BFA3B1-9B8D-4244-A2D8-4658AEE3B930}" type="presOf" srcId="{902142BD-B6BC-4E4D-A0EC-312C977D2DF0}" destId="{CD0D41E2-96B2-E44D-A2FF-B761B115596A}" srcOrd="0" destOrd="1" presId="urn:microsoft.com/office/officeart/2005/8/layout/vList5"/>
    <dgm:cxn modelId="{B56A4F6D-96DC-416E-B4B0-E7A1D6CAAC91}" type="presOf" srcId="{6401B874-5C86-4D41-8D53-A6D63B081713}" destId="{CD0D41E2-96B2-E44D-A2FF-B761B115596A}" srcOrd="0" destOrd="2" presId="urn:microsoft.com/office/officeart/2005/8/layout/vList5"/>
    <dgm:cxn modelId="{FF8ADE0A-63AB-4649-AA61-060D3C773F08}" srcId="{C2EF94A2-2C8C-564B-9FD7-9E800F9E5EBE}" destId="{986F3990-B9C2-374A-8793-34F9D23438A3}" srcOrd="1" destOrd="0" parTransId="{03C32EAF-A765-6841-8E3C-7115F03193E7}" sibTransId="{EE753995-1E76-3640-90E3-67632FB5A8C9}"/>
    <dgm:cxn modelId="{410EC1E0-9B04-2E4C-9FF4-B91A4955F012}" srcId="{2CEE5A0B-4D53-EE4B-B503-14A4FBF654AB}" destId="{C2EF94A2-2C8C-564B-9FD7-9E800F9E5EBE}" srcOrd="1" destOrd="0" parTransId="{47DF40CC-5CAC-2D4D-9CC1-1B473AC7FDA3}" sibTransId="{A164F773-DA89-D341-AA1B-B9AF91356E3C}"/>
    <dgm:cxn modelId="{F0935856-2EBC-476A-90D2-71A01FB4162B}" type="presOf" srcId="{A26F8121-831B-0041-B72F-AD99BB6294F8}" destId="{21D8BB60-5737-B54D-9C1B-DF29CBFA0890}" srcOrd="0" destOrd="3" presId="urn:microsoft.com/office/officeart/2005/8/layout/vList5"/>
    <dgm:cxn modelId="{7DB92B80-A16F-43CB-ABE2-E62C77081111}" type="presOf" srcId="{F1FAFDC9-60AE-D748-8FF6-AC602DDFFE7F}" destId="{2C12D396-5422-2B4B-A600-7E874EAB7801}" srcOrd="0" destOrd="0" presId="urn:microsoft.com/office/officeart/2005/8/layout/vList5"/>
    <dgm:cxn modelId="{6C914EE4-4837-46B1-AD9D-A82CBC8AA5D8}" type="presOf" srcId="{F9B61C9D-440F-DA4C-99D6-622A85ECCD19}" destId="{2C12D396-5422-2B4B-A600-7E874EAB7801}" srcOrd="0" destOrd="3" presId="urn:microsoft.com/office/officeart/2005/8/layout/vList5"/>
    <dgm:cxn modelId="{5DD41290-0A4C-41D1-AB42-FF62011A0EE7}" type="presOf" srcId="{39C7DCFC-398E-F54F-BD71-4D5BAB290D06}" destId="{CD0D41E2-96B2-E44D-A2FF-B761B115596A}" srcOrd="0" destOrd="0" presId="urn:microsoft.com/office/officeart/2005/8/layout/vList5"/>
    <dgm:cxn modelId="{2F397D60-547B-E348-BF20-FAB1A6EE39E5}" srcId="{B5B23087-DA11-4F43-A6A0-48D421C14AB8}" destId="{902142BD-B6BC-4E4D-A0EC-312C977D2DF0}" srcOrd="1" destOrd="0" parTransId="{F39D9059-8E84-AD4F-9DEF-7E1E484B8A80}" sibTransId="{5B02F00C-A6EF-0D4B-80E2-7BBAD0B1EF22}"/>
    <dgm:cxn modelId="{1CF093C9-0703-814E-97DF-D3F67ADA3A21}" srcId="{2CEE5A0B-4D53-EE4B-B503-14A4FBF654AB}" destId="{B5B23087-DA11-4F43-A6A0-48D421C14AB8}" srcOrd="0" destOrd="0" parTransId="{4104AB90-7962-3B4F-9210-B9E46D4EFD9E}" sibTransId="{AD79A85E-76FD-8048-870A-A2FE3AAFBCFD}"/>
    <dgm:cxn modelId="{46AA0BCD-1226-49D4-A1D5-52B63B66DB25}" type="presOf" srcId="{C2EF94A2-2C8C-564B-9FD7-9E800F9E5EBE}" destId="{CE13CA5C-8308-A440-B29A-430BC651571C}" srcOrd="0" destOrd="0" presId="urn:microsoft.com/office/officeart/2005/8/layout/vList5"/>
    <dgm:cxn modelId="{698356B3-C49D-A240-B5EA-D8BC92094C84}" srcId="{B5B23087-DA11-4F43-A6A0-48D421C14AB8}" destId="{39C7DCFC-398E-F54F-BD71-4D5BAB290D06}" srcOrd="0" destOrd="0" parTransId="{3C00385C-0D25-C248-B5D9-30F4A35B48DF}" sibTransId="{09A8B3CA-6474-724D-80C8-CD8469399518}"/>
    <dgm:cxn modelId="{FEBE7E4D-5F15-6648-88D8-454E4FDC79CB}" srcId="{D5688338-6713-B740-8EA4-9765B37491D3}" destId="{F1FAFDC9-60AE-D748-8FF6-AC602DDFFE7F}" srcOrd="0" destOrd="0" parTransId="{243034B6-F21F-6645-9409-A0DBCBFD5B55}" sibTransId="{0781FF9B-8EE5-E84E-8153-BC3834A9502B}"/>
    <dgm:cxn modelId="{00B31C64-4F0C-6B45-BFD6-FD2534ED06B5}" srcId="{C2EF94A2-2C8C-564B-9FD7-9E800F9E5EBE}" destId="{A26F8121-831B-0041-B72F-AD99BB6294F8}" srcOrd="3" destOrd="0" parTransId="{0B7F327B-C1EA-5C43-97BE-1F9F747EC62A}" sibTransId="{385C8197-FB88-9C4F-919C-036BA600881A}"/>
    <dgm:cxn modelId="{40F39089-9DEA-4F3C-9F09-AFD92A2D396D}" type="presParOf" srcId="{1812D59D-AA12-094C-BEBE-AC7A2E635D55}" destId="{2D4EF740-F00C-BD44-87CA-9542736154CB}" srcOrd="0" destOrd="0" presId="urn:microsoft.com/office/officeart/2005/8/layout/vList5"/>
    <dgm:cxn modelId="{E30644C7-B57B-40C5-9F3D-3298839BAC54}" type="presParOf" srcId="{2D4EF740-F00C-BD44-87CA-9542736154CB}" destId="{867287C8-5658-2943-8711-A81604E05C5A}" srcOrd="0" destOrd="0" presId="urn:microsoft.com/office/officeart/2005/8/layout/vList5"/>
    <dgm:cxn modelId="{B1858764-5D99-41B7-88E6-649729422BB8}" type="presParOf" srcId="{2D4EF740-F00C-BD44-87CA-9542736154CB}" destId="{CD0D41E2-96B2-E44D-A2FF-B761B115596A}" srcOrd="1" destOrd="0" presId="urn:microsoft.com/office/officeart/2005/8/layout/vList5"/>
    <dgm:cxn modelId="{D20FEB7E-6A7B-4F50-9A08-8FF5C93C2AFC}" type="presParOf" srcId="{1812D59D-AA12-094C-BEBE-AC7A2E635D55}" destId="{ED164964-1DA6-AA4E-A122-F54A143E7F75}" srcOrd="1" destOrd="0" presId="urn:microsoft.com/office/officeart/2005/8/layout/vList5"/>
    <dgm:cxn modelId="{E3717B02-29B2-47AF-8643-633993F54763}" type="presParOf" srcId="{1812D59D-AA12-094C-BEBE-AC7A2E635D55}" destId="{9B148214-CABA-0347-A3E6-A0E02BEC616B}" srcOrd="2" destOrd="0" presId="urn:microsoft.com/office/officeart/2005/8/layout/vList5"/>
    <dgm:cxn modelId="{C451EFB2-68E8-49F9-AE03-7C744D68EF1A}" type="presParOf" srcId="{9B148214-CABA-0347-A3E6-A0E02BEC616B}" destId="{CE13CA5C-8308-A440-B29A-430BC651571C}" srcOrd="0" destOrd="0" presId="urn:microsoft.com/office/officeart/2005/8/layout/vList5"/>
    <dgm:cxn modelId="{30B566C9-CDD5-4BDC-8B7F-5B6D6EBEA31C}" type="presParOf" srcId="{9B148214-CABA-0347-A3E6-A0E02BEC616B}" destId="{21D8BB60-5737-B54D-9C1B-DF29CBFA0890}" srcOrd="1" destOrd="0" presId="urn:microsoft.com/office/officeart/2005/8/layout/vList5"/>
    <dgm:cxn modelId="{67AEFBFA-DEF6-44FD-82A0-2CE96423948E}" type="presParOf" srcId="{1812D59D-AA12-094C-BEBE-AC7A2E635D55}" destId="{79D76693-C18B-2B4D-A0B8-9405DD9D3065}" srcOrd="3" destOrd="0" presId="urn:microsoft.com/office/officeart/2005/8/layout/vList5"/>
    <dgm:cxn modelId="{65F32755-8517-4D8A-9C37-952DDC38CB57}" type="presParOf" srcId="{1812D59D-AA12-094C-BEBE-AC7A2E635D55}" destId="{7C978326-8B45-8845-B307-644453C9751A}" srcOrd="4" destOrd="0" presId="urn:microsoft.com/office/officeart/2005/8/layout/vList5"/>
    <dgm:cxn modelId="{36F641EA-9AF8-4E08-B41C-61D9B12752C7}" type="presParOf" srcId="{7C978326-8B45-8845-B307-644453C9751A}" destId="{F84727A8-4A8C-E444-B326-95241EA0DF96}" srcOrd="0" destOrd="0" presId="urn:microsoft.com/office/officeart/2005/8/layout/vList5"/>
    <dgm:cxn modelId="{6EAE1E5C-BF75-4243-99BB-21A6B49A79E0}" type="presParOf" srcId="{7C978326-8B45-8845-B307-644453C9751A}" destId="{2C12D396-5422-2B4B-A600-7E874EAB7801}" srcOrd="1" destOrd="0" presId="urn:microsoft.com/office/officeart/2005/8/layout/vList5"/>
    <dgm:cxn modelId="{AA83F81F-B798-4842-A215-3BC175F759D5}" type="presParOf" srcId="{1812D59D-AA12-094C-BEBE-AC7A2E635D55}" destId="{5527E0DF-F86A-EA49-B173-31E8998D2DD6}" srcOrd="5" destOrd="0" presId="urn:microsoft.com/office/officeart/2005/8/layout/vList5"/>
    <dgm:cxn modelId="{0518D0B7-CAD2-4C89-9048-ACE52EC7734B}" type="presParOf" srcId="{1812D59D-AA12-094C-BEBE-AC7A2E635D55}" destId="{ED1647E2-4DFD-FE40-8AF6-71D97AC67273}" srcOrd="6" destOrd="0" presId="urn:microsoft.com/office/officeart/2005/8/layout/vList5"/>
    <dgm:cxn modelId="{AB04311F-117E-465F-9071-3149D6AFEBFD}" type="presParOf" srcId="{ED1647E2-4DFD-FE40-8AF6-71D97AC67273}" destId="{94A5D2FB-58E3-5341-8FFB-1C16924EB529}" srcOrd="0" destOrd="0" presId="urn:microsoft.com/office/officeart/2005/8/layout/vList5"/>
    <dgm:cxn modelId="{A6DA1183-35A7-4327-BC47-A0244A37B1C8}" type="presParOf" srcId="{ED1647E2-4DFD-FE40-8AF6-71D97AC67273}" destId="{DC58AB84-E75C-2D43-867C-84635320F92E}" srcOrd="1" destOrd="0" presId="urn:microsoft.com/office/officeart/2005/8/layout/vList5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2790369E-9F3F-A14A-AFB9-D66F4E76D135}" type="doc">
      <dgm:prSet loTypeId="urn:microsoft.com/office/officeart/2005/8/layout/list1" loCatId="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it-IT"/>
        </a:p>
      </dgm:t>
    </dgm:pt>
    <dgm:pt modelId="{F7E1C195-297D-F248-B62D-84E953E68ADD}">
      <dgm:prSet custT="1"/>
      <dgm:spPr>
        <a:xfrm>
          <a:off x="429952" y="44902"/>
          <a:ext cx="6019335" cy="29520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Coordination</a:t>
          </a:r>
          <a:r>
            <a:rPr lang="it-IT" sz="18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 of the National </a:t>
          </a:r>
          <a:r>
            <a:rPr lang="it-IT" sz="18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ALMPs</a:t>
          </a:r>
          <a:r>
            <a:rPr lang="it-IT" sz="18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 network</a:t>
          </a:r>
          <a:endParaRPr lang="it-IT" sz="1800" dirty="0">
            <a:solidFill>
              <a:srgbClr val="FFFFFF"/>
            </a:solidFill>
            <a:latin typeface="Calisto MT"/>
            <a:ea typeface="+mn-ea"/>
            <a:cs typeface="+mn-cs"/>
          </a:endParaRPr>
        </a:p>
      </dgm:t>
    </dgm:pt>
    <dgm:pt modelId="{A4CB2BAC-4287-F64E-B8BE-C0004C24F8B3}" type="parTrans" cxnId="{6CCEE086-7862-4140-A46E-BA3D0F0393C3}">
      <dgm:prSet/>
      <dgm:spPr/>
      <dgm:t>
        <a:bodyPr/>
        <a:lstStyle/>
        <a:p>
          <a:endParaRPr lang="it-IT" sz="2400"/>
        </a:p>
      </dgm:t>
    </dgm:pt>
    <dgm:pt modelId="{0C082972-4170-6944-AD48-D0242EFA1F81}" type="sibTrans" cxnId="{6CCEE086-7862-4140-A46E-BA3D0F0393C3}">
      <dgm:prSet/>
      <dgm:spPr/>
      <dgm:t>
        <a:bodyPr/>
        <a:lstStyle/>
        <a:p>
          <a:endParaRPr lang="it-IT" sz="2400"/>
        </a:p>
      </dgm:t>
    </dgm:pt>
    <dgm:pt modelId="{1813E6D5-D750-2B49-92D5-BE03A7276045}">
      <dgm:prSet custT="1"/>
      <dgm:spPr>
        <a:xfrm>
          <a:off x="429952" y="498502"/>
          <a:ext cx="6019335" cy="29520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Definition of common </a:t>
          </a:r>
          <a:r>
            <a:rPr lang="it-IT" sz="18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methodologies</a:t>
          </a:r>
          <a:endParaRPr lang="it-IT" sz="1800" dirty="0">
            <a:solidFill>
              <a:srgbClr val="FFFFFF"/>
            </a:solidFill>
            <a:latin typeface="Calisto MT"/>
            <a:ea typeface="+mn-ea"/>
            <a:cs typeface="+mn-cs"/>
          </a:endParaRPr>
        </a:p>
      </dgm:t>
    </dgm:pt>
    <dgm:pt modelId="{9E798FAB-03C9-114B-BF27-A3720FFBA230}" type="parTrans" cxnId="{3FCA8F6A-9DCD-E248-B2E4-1F71745DBC9E}">
      <dgm:prSet/>
      <dgm:spPr/>
      <dgm:t>
        <a:bodyPr/>
        <a:lstStyle/>
        <a:p>
          <a:endParaRPr lang="it-IT" sz="2400"/>
        </a:p>
      </dgm:t>
    </dgm:pt>
    <dgm:pt modelId="{506D22CB-7093-924A-9A51-35879D2BEE2D}" type="sibTrans" cxnId="{3FCA8F6A-9DCD-E248-B2E4-1F71745DBC9E}">
      <dgm:prSet/>
      <dgm:spPr/>
      <dgm:t>
        <a:bodyPr/>
        <a:lstStyle/>
        <a:p>
          <a:endParaRPr lang="it-IT" sz="2400"/>
        </a:p>
      </dgm:t>
    </dgm:pt>
    <dgm:pt modelId="{6DE09F33-2E14-9E40-AE28-C0F4B1B6CD6F}">
      <dgm:prSet custT="1"/>
      <dgm:spPr>
        <a:xfrm>
          <a:off x="0" y="646102"/>
          <a:ext cx="8599051" cy="1197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Profiling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of </a:t>
          </a:r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joobseekers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(quantitative and e qualitative)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53E445A6-2924-D047-AF32-0E0463F01248}" type="parTrans" cxnId="{F124AC85-EB6D-974B-B979-5D355CB153A3}">
      <dgm:prSet/>
      <dgm:spPr/>
      <dgm:t>
        <a:bodyPr/>
        <a:lstStyle/>
        <a:p>
          <a:endParaRPr lang="it-IT" sz="2400"/>
        </a:p>
      </dgm:t>
    </dgm:pt>
    <dgm:pt modelId="{FBFDD97A-4628-3F44-A5C3-B07D26A0916A}" type="sibTrans" cxnId="{F124AC85-EB6D-974B-B979-5D355CB153A3}">
      <dgm:prSet/>
      <dgm:spPr/>
      <dgm:t>
        <a:bodyPr/>
        <a:lstStyle/>
        <a:p>
          <a:endParaRPr lang="it-IT" sz="2400"/>
        </a:p>
      </dgm:t>
    </dgm:pt>
    <dgm:pt modelId="{8A499DEF-9E6C-724D-94BF-F0DC3B222057}">
      <dgm:prSet custT="1"/>
      <dgm:spPr>
        <a:xfrm>
          <a:off x="0" y="646102"/>
          <a:ext cx="8599051" cy="1197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Standard of </a:t>
          </a:r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services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1ED21367-40DB-5545-A1C5-7D21E1B42CD1}" type="parTrans" cxnId="{F078AE1A-8973-A34A-9C88-6B393F2DF052}">
      <dgm:prSet/>
      <dgm:spPr/>
      <dgm:t>
        <a:bodyPr/>
        <a:lstStyle/>
        <a:p>
          <a:endParaRPr lang="it-IT" sz="2400"/>
        </a:p>
      </dgm:t>
    </dgm:pt>
    <dgm:pt modelId="{F4C054AC-911D-5C4A-97FB-D43FBC68C2CF}" type="sibTrans" cxnId="{F078AE1A-8973-A34A-9C88-6B393F2DF052}">
      <dgm:prSet/>
      <dgm:spPr/>
      <dgm:t>
        <a:bodyPr/>
        <a:lstStyle/>
        <a:p>
          <a:endParaRPr lang="it-IT" sz="2400"/>
        </a:p>
      </dgm:t>
    </dgm:pt>
    <dgm:pt modelId="{496FD3C2-4705-044F-96B3-CD2ED009A70B}">
      <dgm:prSet custT="1"/>
      <dgm:spPr>
        <a:xfrm>
          <a:off x="0" y="646102"/>
          <a:ext cx="8599051" cy="1197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Standard</a:t>
          </a:r>
          <a:r>
            <a:rPr lang="it-IT" sz="1800" baseline="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of </a:t>
          </a:r>
          <a:r>
            <a:rPr lang="it-IT" sz="1800" baseline="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sts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95E033C7-EF3B-2E46-BDC1-FF22B2C2FB21}" type="parTrans" cxnId="{29844617-568C-A14E-8748-E1ABAF43FAD2}">
      <dgm:prSet/>
      <dgm:spPr/>
      <dgm:t>
        <a:bodyPr/>
        <a:lstStyle/>
        <a:p>
          <a:endParaRPr lang="it-IT" sz="2400"/>
        </a:p>
      </dgm:t>
    </dgm:pt>
    <dgm:pt modelId="{DE6DCA24-A49D-D44C-B1E0-9F63E9B17CF7}" type="sibTrans" cxnId="{29844617-568C-A14E-8748-E1ABAF43FAD2}">
      <dgm:prSet/>
      <dgm:spPr/>
      <dgm:t>
        <a:bodyPr/>
        <a:lstStyle/>
        <a:p>
          <a:endParaRPr lang="it-IT" sz="2400"/>
        </a:p>
      </dgm:t>
    </dgm:pt>
    <dgm:pt modelId="{BFC36017-EAFA-2A45-8DAE-CB233FE4501C}">
      <dgm:prSet custT="1"/>
      <dgm:spPr>
        <a:xfrm>
          <a:off x="429952" y="1897103"/>
          <a:ext cx="6019335" cy="29520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IT System</a:t>
          </a:r>
          <a:endParaRPr lang="it-IT" sz="1800" dirty="0">
            <a:solidFill>
              <a:srgbClr val="FFFFFF"/>
            </a:solidFill>
            <a:latin typeface="Calisto MT"/>
            <a:ea typeface="+mn-ea"/>
            <a:cs typeface="+mn-cs"/>
          </a:endParaRPr>
        </a:p>
      </dgm:t>
    </dgm:pt>
    <dgm:pt modelId="{7336A199-DA32-EA45-8392-25D641E19CA2}" type="parTrans" cxnId="{B0880C95-DDE0-3F45-A4C4-632B5CF764A2}">
      <dgm:prSet/>
      <dgm:spPr/>
      <dgm:t>
        <a:bodyPr/>
        <a:lstStyle/>
        <a:p>
          <a:endParaRPr lang="it-IT" sz="2400"/>
        </a:p>
      </dgm:t>
    </dgm:pt>
    <dgm:pt modelId="{CC3148F7-33BB-5740-AD01-6BF6573F1C8F}" type="sibTrans" cxnId="{B0880C95-DDE0-3F45-A4C4-632B5CF764A2}">
      <dgm:prSet/>
      <dgm:spPr/>
      <dgm:t>
        <a:bodyPr/>
        <a:lstStyle/>
        <a:p>
          <a:endParaRPr lang="it-IT" sz="2400"/>
        </a:p>
      </dgm:t>
    </dgm:pt>
    <dgm:pt modelId="{705AD600-3006-1348-88E5-E791D2AFAD28}">
      <dgm:prSet custT="1"/>
      <dgm:spPr>
        <a:xfrm>
          <a:off x="0" y="2044703"/>
          <a:ext cx="8599051" cy="1764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Did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on line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D7ED6725-ED0E-FD4A-BF69-AC60AEAEB22F}" type="parTrans" cxnId="{CAC95EDE-0365-1244-8111-9E0D51B2EFF3}">
      <dgm:prSet/>
      <dgm:spPr/>
      <dgm:t>
        <a:bodyPr/>
        <a:lstStyle/>
        <a:p>
          <a:endParaRPr lang="it-IT" sz="2400"/>
        </a:p>
      </dgm:t>
    </dgm:pt>
    <dgm:pt modelId="{96F292C9-B935-5344-949A-D43718384BAB}" type="sibTrans" cxnId="{CAC95EDE-0365-1244-8111-9E0D51B2EFF3}">
      <dgm:prSet/>
      <dgm:spPr/>
      <dgm:t>
        <a:bodyPr/>
        <a:lstStyle/>
        <a:p>
          <a:endParaRPr lang="it-IT" sz="2400"/>
        </a:p>
      </dgm:t>
    </dgm:pt>
    <dgm:pt modelId="{6082F555-46CF-8A41-9F51-4CBC01D913BA}">
      <dgm:prSet custT="1"/>
      <dgm:spPr>
        <a:xfrm>
          <a:off x="0" y="2044703"/>
          <a:ext cx="8599051" cy="1764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Re-</a:t>
          </a:r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placement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voucher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46DD9AA9-0FA9-894A-A18C-D2CF2E63E5D7}" type="parTrans" cxnId="{A31F46A2-781E-0E47-A840-5F3A9382B4C3}">
      <dgm:prSet/>
      <dgm:spPr/>
      <dgm:t>
        <a:bodyPr/>
        <a:lstStyle/>
        <a:p>
          <a:endParaRPr lang="it-IT" sz="2400"/>
        </a:p>
      </dgm:t>
    </dgm:pt>
    <dgm:pt modelId="{2D54D450-92FD-C946-A45D-7D80D2E4D52C}" type="sibTrans" cxnId="{A31F46A2-781E-0E47-A840-5F3A9382B4C3}">
      <dgm:prSet/>
      <dgm:spPr/>
      <dgm:t>
        <a:bodyPr/>
        <a:lstStyle/>
        <a:p>
          <a:endParaRPr lang="it-IT" sz="2400"/>
        </a:p>
      </dgm:t>
    </dgm:pt>
    <dgm:pt modelId="{528BD017-E8B0-6C45-A1D5-1BA39DB8F784}">
      <dgm:prSet custT="1"/>
      <dgm:spPr>
        <a:xfrm>
          <a:off x="0" y="2044703"/>
          <a:ext cx="8599051" cy="1764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nditionalities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6451A533-BADC-1747-9162-253E41D8620D}" type="parTrans" cxnId="{4CA6535A-92F6-224C-9F09-4BFDE9D84D62}">
      <dgm:prSet/>
      <dgm:spPr/>
      <dgm:t>
        <a:bodyPr/>
        <a:lstStyle/>
        <a:p>
          <a:endParaRPr lang="it-IT" sz="2400"/>
        </a:p>
      </dgm:t>
    </dgm:pt>
    <dgm:pt modelId="{C7056045-A5AF-C74F-B84A-32C66B45F18E}" type="sibTrans" cxnId="{4CA6535A-92F6-224C-9F09-4BFDE9D84D62}">
      <dgm:prSet/>
      <dgm:spPr/>
      <dgm:t>
        <a:bodyPr/>
        <a:lstStyle/>
        <a:p>
          <a:endParaRPr lang="it-IT" sz="2400"/>
        </a:p>
      </dgm:t>
    </dgm:pt>
    <dgm:pt modelId="{E926BE57-D61E-EC46-A318-90BD40707421}">
      <dgm:prSet custT="1"/>
      <dgm:spPr>
        <a:xfrm>
          <a:off x="429952" y="3862703"/>
          <a:ext cx="6019335" cy="29520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Direct </a:t>
          </a:r>
          <a:r>
            <a:rPr lang="it-IT" sz="18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projects</a:t>
          </a:r>
          <a:endParaRPr lang="it-IT" sz="1800" dirty="0">
            <a:solidFill>
              <a:srgbClr val="FFFFFF"/>
            </a:solidFill>
            <a:latin typeface="Calisto MT"/>
            <a:ea typeface="+mn-ea"/>
            <a:cs typeface="+mn-cs"/>
          </a:endParaRPr>
        </a:p>
      </dgm:t>
    </dgm:pt>
    <dgm:pt modelId="{D3AE7AEA-5541-BA48-9201-6E6A2A2BAB7D}" type="parTrans" cxnId="{E40758AB-17C6-7D41-AB85-6D2E0673FEFC}">
      <dgm:prSet/>
      <dgm:spPr/>
      <dgm:t>
        <a:bodyPr/>
        <a:lstStyle/>
        <a:p>
          <a:endParaRPr lang="it-IT" sz="2400"/>
        </a:p>
      </dgm:t>
    </dgm:pt>
    <dgm:pt modelId="{190ACE4E-4FA2-BE46-B853-8394317B33C6}" type="sibTrans" cxnId="{E40758AB-17C6-7D41-AB85-6D2E0673FEFC}">
      <dgm:prSet/>
      <dgm:spPr/>
      <dgm:t>
        <a:bodyPr/>
        <a:lstStyle/>
        <a:p>
          <a:endParaRPr lang="it-IT" sz="2400"/>
        </a:p>
      </dgm:t>
    </dgm:pt>
    <dgm:pt modelId="{C17E2239-D2BA-1043-A660-C282DBF9C9C0}">
      <dgm:prSet custT="1"/>
      <dgm:spPr>
        <a:xfrm>
          <a:off x="0" y="4010303"/>
          <a:ext cx="8599051" cy="882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Re-</a:t>
          </a:r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placement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voucher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5AE07117-1B9A-214E-91AD-026513B94DF7}" type="parTrans" cxnId="{9840834D-B17F-6240-A8E4-C4A71A5DE0A7}">
      <dgm:prSet/>
      <dgm:spPr/>
      <dgm:t>
        <a:bodyPr/>
        <a:lstStyle/>
        <a:p>
          <a:endParaRPr lang="it-IT" sz="2400"/>
        </a:p>
      </dgm:t>
    </dgm:pt>
    <dgm:pt modelId="{8B2AE64C-6A07-C443-A1F6-52ECBE080F06}" type="sibTrans" cxnId="{9840834D-B17F-6240-A8E4-C4A71A5DE0A7}">
      <dgm:prSet/>
      <dgm:spPr/>
      <dgm:t>
        <a:bodyPr/>
        <a:lstStyle/>
        <a:p>
          <a:endParaRPr lang="it-IT" sz="2400"/>
        </a:p>
      </dgm:t>
    </dgm:pt>
    <dgm:pt modelId="{CC086FDE-117A-F844-A562-47198D842483}">
      <dgm:prSet custT="1"/>
      <dgm:spPr>
        <a:xfrm>
          <a:off x="0" y="4010303"/>
          <a:ext cx="8599051" cy="882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Employment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</a:t>
          </a:r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incentives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AFF80F47-71ED-9A45-BC10-3257AA9DCC6C}" type="parTrans" cxnId="{63BF6F34-CFB9-F041-87BA-B4C1E4CB9D3E}">
      <dgm:prSet/>
      <dgm:spPr/>
      <dgm:t>
        <a:bodyPr/>
        <a:lstStyle/>
        <a:p>
          <a:endParaRPr lang="it-IT" sz="2400"/>
        </a:p>
      </dgm:t>
    </dgm:pt>
    <dgm:pt modelId="{5DCC52BC-D9DC-164D-8EFF-00E5951A6A67}" type="sibTrans" cxnId="{63BF6F34-CFB9-F041-87BA-B4C1E4CB9D3E}">
      <dgm:prSet/>
      <dgm:spPr/>
      <dgm:t>
        <a:bodyPr/>
        <a:lstStyle/>
        <a:p>
          <a:endParaRPr lang="it-IT" sz="2400"/>
        </a:p>
      </dgm:t>
    </dgm:pt>
    <dgm:pt modelId="{F7990387-B5A2-1941-80AD-7F7821582D88}">
      <dgm:prSet custT="1"/>
      <dgm:spPr>
        <a:xfrm>
          <a:off x="0" y="2044703"/>
          <a:ext cx="8599051" cy="1764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pPr rtl="0"/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mpulsory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</a:t>
          </a:r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mmunication</a:t>
          </a:r>
          <a:r>
            <a:rPr lang="it-IT" sz="18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for </a:t>
          </a:r>
          <a:r>
            <a:rPr lang="it-IT" sz="18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ntracts</a:t>
          </a:r>
          <a:endParaRPr lang="it-IT" sz="18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gm:t>
    </dgm:pt>
    <dgm:pt modelId="{A03F7915-6F80-954A-9ECE-9CB1B07C46FE}" type="parTrans" cxnId="{357ACECC-C2B7-CC45-B835-F75E4C8CA4F2}">
      <dgm:prSet/>
      <dgm:spPr/>
      <dgm:t>
        <a:bodyPr/>
        <a:lstStyle/>
        <a:p>
          <a:endParaRPr lang="it-IT"/>
        </a:p>
      </dgm:t>
    </dgm:pt>
    <dgm:pt modelId="{6F39585E-E2B8-1A40-8845-31071A941D3B}" type="sibTrans" cxnId="{357ACECC-C2B7-CC45-B835-F75E4C8CA4F2}">
      <dgm:prSet/>
      <dgm:spPr/>
      <dgm:t>
        <a:bodyPr/>
        <a:lstStyle/>
        <a:p>
          <a:endParaRPr lang="it-IT"/>
        </a:p>
      </dgm:t>
    </dgm:pt>
    <dgm:pt modelId="{D6467707-AFDB-4748-A7B9-0F34C1A8A6A8}" type="pres">
      <dgm:prSet presAssocID="{2790369E-9F3F-A14A-AFB9-D66F4E76D135}" presName="linear" presStyleCnt="0">
        <dgm:presLayoutVars>
          <dgm:dir/>
          <dgm:animLvl val="lvl"/>
          <dgm:resizeHandles val="exact"/>
        </dgm:presLayoutVars>
      </dgm:prSet>
      <dgm:spPr/>
      <dgm:t>
        <a:bodyPr/>
        <a:lstStyle/>
        <a:p>
          <a:endParaRPr lang="it-IT"/>
        </a:p>
      </dgm:t>
    </dgm:pt>
    <dgm:pt modelId="{78D9E9AA-F732-E04F-A5AA-CFC9FF8B5D19}" type="pres">
      <dgm:prSet presAssocID="{F7E1C195-297D-F248-B62D-84E953E68ADD}" presName="parentLin" presStyleCnt="0"/>
      <dgm:spPr/>
    </dgm:pt>
    <dgm:pt modelId="{D03CA43C-8D7E-934E-9DF8-40B45E7B3F54}" type="pres">
      <dgm:prSet presAssocID="{F7E1C195-297D-F248-B62D-84E953E68ADD}" presName="parentLeftMargin" presStyleLbl="node1" presStyleIdx="0" presStyleCnt="4"/>
      <dgm:spPr/>
      <dgm:t>
        <a:bodyPr/>
        <a:lstStyle/>
        <a:p>
          <a:endParaRPr lang="it-IT"/>
        </a:p>
      </dgm:t>
    </dgm:pt>
    <dgm:pt modelId="{208FF999-1BB5-174D-A7F6-CFCF7941C71E}" type="pres">
      <dgm:prSet presAssocID="{F7E1C195-297D-F248-B62D-84E953E68ADD}" presName="parentText" presStyleLbl="node1" presStyleIdx="0" presStyleCnt="4" custLinFactNeighborX="487" custLinFactNeighborY="-3633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4F16CA42-ABC2-3C47-ACD7-53DCB6603009}" type="pres">
      <dgm:prSet presAssocID="{F7E1C195-297D-F248-B62D-84E953E68ADD}" presName="negativeSpace" presStyleCnt="0"/>
      <dgm:spPr/>
    </dgm:pt>
    <dgm:pt modelId="{3D8DA0FF-7BCD-D248-9AC2-CE8BECA87D37}" type="pres">
      <dgm:prSet presAssocID="{F7E1C195-297D-F248-B62D-84E953E68ADD}" presName="childText" presStyleLbl="conFgAcc1" presStyleIdx="0" presStyleCnt="4">
        <dgm:presLayoutVars>
          <dgm:bulletEnabled val="1"/>
        </dgm:presLayoutVars>
      </dgm:prSet>
      <dgm:spPr>
        <a:xfrm>
          <a:off x="0" y="192502"/>
          <a:ext cx="8599051" cy="2520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gm:spPr>
      <dgm:t>
        <a:bodyPr/>
        <a:lstStyle/>
        <a:p>
          <a:endParaRPr lang="it-IT"/>
        </a:p>
      </dgm:t>
    </dgm:pt>
    <dgm:pt modelId="{084D551D-D858-6C49-B2EF-DE8AB4C2BEA4}" type="pres">
      <dgm:prSet presAssocID="{0C082972-4170-6944-AD48-D0242EFA1F81}" presName="spaceBetweenRectangles" presStyleCnt="0"/>
      <dgm:spPr/>
    </dgm:pt>
    <dgm:pt modelId="{0AFB2144-71B8-AB4B-975C-30809CA17BB9}" type="pres">
      <dgm:prSet presAssocID="{1813E6D5-D750-2B49-92D5-BE03A7276045}" presName="parentLin" presStyleCnt="0"/>
      <dgm:spPr/>
    </dgm:pt>
    <dgm:pt modelId="{6FB31C1D-A1E9-0741-A8F9-7197CB8AD9B5}" type="pres">
      <dgm:prSet presAssocID="{1813E6D5-D750-2B49-92D5-BE03A7276045}" presName="parentLeftMargin" presStyleLbl="node1" presStyleIdx="0" presStyleCnt="4"/>
      <dgm:spPr/>
      <dgm:t>
        <a:bodyPr/>
        <a:lstStyle/>
        <a:p>
          <a:endParaRPr lang="it-IT"/>
        </a:p>
      </dgm:t>
    </dgm:pt>
    <dgm:pt modelId="{B9C99667-D621-AE42-B0C9-5A0D68FBE4BB}" type="pres">
      <dgm:prSet presAssocID="{1813E6D5-D750-2B49-92D5-BE03A7276045}" presName="parentText" presStyleLbl="node1" presStyleIdx="1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287A73D2-B88C-4A45-9F31-ECEA9DD87730}" type="pres">
      <dgm:prSet presAssocID="{1813E6D5-D750-2B49-92D5-BE03A7276045}" presName="negativeSpace" presStyleCnt="0"/>
      <dgm:spPr/>
    </dgm:pt>
    <dgm:pt modelId="{315EE5EF-8A34-7E40-824F-ED60C3A3A82D}" type="pres">
      <dgm:prSet presAssocID="{1813E6D5-D750-2B49-92D5-BE03A7276045}" presName="childText" presStyleLbl="conFgAcc1" presStyleIdx="1" presStyleCnt="4" custLinFactNeighborX="3947" custLinFactNeighborY="20958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3963FF4E-2DE0-F944-88DE-58347FA4C989}" type="pres">
      <dgm:prSet presAssocID="{506D22CB-7093-924A-9A51-35879D2BEE2D}" presName="spaceBetweenRectangles" presStyleCnt="0"/>
      <dgm:spPr/>
    </dgm:pt>
    <dgm:pt modelId="{5DA14CE4-ED46-4245-B4D9-89A973D07D05}" type="pres">
      <dgm:prSet presAssocID="{BFC36017-EAFA-2A45-8DAE-CB233FE4501C}" presName="parentLin" presStyleCnt="0"/>
      <dgm:spPr/>
    </dgm:pt>
    <dgm:pt modelId="{B19AFD0D-8417-034F-9F8D-4637221E1151}" type="pres">
      <dgm:prSet presAssocID="{BFC36017-EAFA-2A45-8DAE-CB233FE4501C}" presName="parentLeftMargin" presStyleLbl="node1" presStyleIdx="1" presStyleCnt="4"/>
      <dgm:spPr/>
      <dgm:t>
        <a:bodyPr/>
        <a:lstStyle/>
        <a:p>
          <a:endParaRPr lang="it-IT"/>
        </a:p>
      </dgm:t>
    </dgm:pt>
    <dgm:pt modelId="{275355BB-A2B6-5B49-9487-78D7BFCD4625}" type="pres">
      <dgm:prSet presAssocID="{BFC36017-EAFA-2A45-8DAE-CB233FE4501C}" presName="parentText" presStyleLbl="node1" presStyleIdx="2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BF8250C8-1A5D-594E-B63B-21258D94A329}" type="pres">
      <dgm:prSet presAssocID="{BFC36017-EAFA-2A45-8DAE-CB233FE4501C}" presName="negativeSpace" presStyleCnt="0"/>
      <dgm:spPr/>
    </dgm:pt>
    <dgm:pt modelId="{BCE3E420-7C8B-0141-BB2C-355647FE0249}" type="pres">
      <dgm:prSet presAssocID="{BFC36017-EAFA-2A45-8DAE-CB233FE4501C}" presName="childText" presStyleLbl="conFgAcc1" presStyleIdx="2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F7AB5380-45B6-814E-AFB5-2F2A74E64757}" type="pres">
      <dgm:prSet presAssocID="{CC3148F7-33BB-5740-AD01-6BF6573F1C8F}" presName="spaceBetweenRectangles" presStyleCnt="0"/>
      <dgm:spPr/>
    </dgm:pt>
    <dgm:pt modelId="{DD89DF1F-1212-E34D-8E3B-120A270B12CE}" type="pres">
      <dgm:prSet presAssocID="{E926BE57-D61E-EC46-A318-90BD40707421}" presName="parentLin" presStyleCnt="0"/>
      <dgm:spPr/>
    </dgm:pt>
    <dgm:pt modelId="{08E418FA-58A5-AC43-BA2C-83FFD5042BA3}" type="pres">
      <dgm:prSet presAssocID="{E926BE57-D61E-EC46-A318-90BD40707421}" presName="parentLeftMargin" presStyleLbl="node1" presStyleIdx="2" presStyleCnt="4"/>
      <dgm:spPr/>
      <dgm:t>
        <a:bodyPr/>
        <a:lstStyle/>
        <a:p>
          <a:endParaRPr lang="it-IT"/>
        </a:p>
      </dgm:t>
    </dgm:pt>
    <dgm:pt modelId="{99403AB6-95A2-3740-B464-166DB1DD9B96}" type="pres">
      <dgm:prSet presAssocID="{E926BE57-D61E-EC46-A318-90BD40707421}" presName="parentText" presStyleLbl="node1" presStyleIdx="3" presStyleCnt="4">
        <dgm:presLayoutVars>
          <dgm:chMax val="0"/>
          <dgm:bulletEnabled val="1"/>
        </dgm:presLayoutVars>
      </dgm:prSet>
      <dgm:spPr/>
      <dgm:t>
        <a:bodyPr/>
        <a:lstStyle/>
        <a:p>
          <a:endParaRPr lang="it-IT"/>
        </a:p>
      </dgm:t>
    </dgm:pt>
    <dgm:pt modelId="{DAC68DF1-1BC8-7F43-8961-53FC8CEBB77F}" type="pres">
      <dgm:prSet presAssocID="{E926BE57-D61E-EC46-A318-90BD40707421}" presName="negativeSpace" presStyleCnt="0"/>
      <dgm:spPr/>
    </dgm:pt>
    <dgm:pt modelId="{3AD82BCB-3B63-F34F-AD87-9DE11B2E11FB}" type="pres">
      <dgm:prSet presAssocID="{E926BE57-D61E-EC46-A318-90BD40707421}" presName="childText" presStyleLbl="conFgAcc1" presStyleIdx="3" presStyleCnt="4">
        <dgm:presLayoutVars>
          <dgm:bulletEnabled val="1"/>
        </dgm:presLayoutVars>
      </dgm:prSet>
      <dgm:spPr/>
      <dgm:t>
        <a:bodyPr/>
        <a:lstStyle/>
        <a:p>
          <a:endParaRPr lang="it-IT"/>
        </a:p>
      </dgm:t>
    </dgm:pt>
  </dgm:ptLst>
  <dgm:cxnLst>
    <dgm:cxn modelId="{C86F3E62-F6B4-431F-B0CC-F829DED16452}" type="presOf" srcId="{528BD017-E8B0-6C45-A1D5-1BA39DB8F784}" destId="{BCE3E420-7C8B-0141-BB2C-355647FE0249}" srcOrd="0" destOrd="2" presId="urn:microsoft.com/office/officeart/2005/8/layout/list1"/>
    <dgm:cxn modelId="{970B2A7C-E411-4315-81E2-F78339338D0B}" type="presOf" srcId="{E926BE57-D61E-EC46-A318-90BD40707421}" destId="{08E418FA-58A5-AC43-BA2C-83FFD5042BA3}" srcOrd="0" destOrd="0" presId="urn:microsoft.com/office/officeart/2005/8/layout/list1"/>
    <dgm:cxn modelId="{357ACECC-C2B7-CC45-B835-F75E4C8CA4F2}" srcId="{BFC36017-EAFA-2A45-8DAE-CB233FE4501C}" destId="{F7990387-B5A2-1941-80AD-7F7821582D88}" srcOrd="3" destOrd="0" parTransId="{A03F7915-6F80-954A-9ECE-9CB1B07C46FE}" sibTransId="{6F39585E-E2B8-1A40-8845-31071A941D3B}"/>
    <dgm:cxn modelId="{5CA65D72-347B-422E-B22D-53A994438747}" type="presOf" srcId="{BFC36017-EAFA-2A45-8DAE-CB233FE4501C}" destId="{275355BB-A2B6-5B49-9487-78D7BFCD4625}" srcOrd="1" destOrd="0" presId="urn:microsoft.com/office/officeart/2005/8/layout/list1"/>
    <dgm:cxn modelId="{3FCA8F6A-9DCD-E248-B2E4-1F71745DBC9E}" srcId="{2790369E-9F3F-A14A-AFB9-D66F4E76D135}" destId="{1813E6D5-D750-2B49-92D5-BE03A7276045}" srcOrd="1" destOrd="0" parTransId="{9E798FAB-03C9-114B-BF27-A3720FFBA230}" sibTransId="{506D22CB-7093-924A-9A51-35879D2BEE2D}"/>
    <dgm:cxn modelId="{A31F46A2-781E-0E47-A840-5F3A9382B4C3}" srcId="{BFC36017-EAFA-2A45-8DAE-CB233FE4501C}" destId="{6082F555-46CF-8A41-9F51-4CBC01D913BA}" srcOrd="1" destOrd="0" parTransId="{46DD9AA9-0FA9-894A-A18C-D2CF2E63E5D7}" sibTransId="{2D54D450-92FD-C946-A45D-7D80D2E4D52C}"/>
    <dgm:cxn modelId="{B99C40BD-0E27-4284-8583-7E5C7AA02386}" type="presOf" srcId="{6DE09F33-2E14-9E40-AE28-C0F4B1B6CD6F}" destId="{315EE5EF-8A34-7E40-824F-ED60C3A3A82D}" srcOrd="0" destOrd="0" presId="urn:microsoft.com/office/officeart/2005/8/layout/list1"/>
    <dgm:cxn modelId="{394437B0-C0F7-4E57-A9DE-6AE7F68B4014}" type="presOf" srcId="{496FD3C2-4705-044F-96B3-CD2ED009A70B}" destId="{315EE5EF-8A34-7E40-824F-ED60C3A3A82D}" srcOrd="0" destOrd="2" presId="urn:microsoft.com/office/officeart/2005/8/layout/list1"/>
    <dgm:cxn modelId="{EEA9B3A1-B524-4D39-8B34-8D61E682EE56}" type="presOf" srcId="{CC086FDE-117A-F844-A562-47198D842483}" destId="{3AD82BCB-3B63-F34F-AD87-9DE11B2E11FB}" srcOrd="0" destOrd="1" presId="urn:microsoft.com/office/officeart/2005/8/layout/list1"/>
    <dgm:cxn modelId="{E40758AB-17C6-7D41-AB85-6D2E0673FEFC}" srcId="{2790369E-9F3F-A14A-AFB9-D66F4E76D135}" destId="{E926BE57-D61E-EC46-A318-90BD40707421}" srcOrd="3" destOrd="0" parTransId="{D3AE7AEA-5541-BA48-9201-6E6A2A2BAB7D}" sibTransId="{190ACE4E-4FA2-BE46-B853-8394317B33C6}"/>
    <dgm:cxn modelId="{0C1D654C-E6CD-4C9E-A198-207E3C540805}" type="presOf" srcId="{F7990387-B5A2-1941-80AD-7F7821582D88}" destId="{BCE3E420-7C8B-0141-BB2C-355647FE0249}" srcOrd="0" destOrd="3" presId="urn:microsoft.com/office/officeart/2005/8/layout/list1"/>
    <dgm:cxn modelId="{9840834D-B17F-6240-A8E4-C4A71A5DE0A7}" srcId="{E926BE57-D61E-EC46-A318-90BD40707421}" destId="{C17E2239-D2BA-1043-A660-C282DBF9C9C0}" srcOrd="0" destOrd="0" parTransId="{5AE07117-1B9A-214E-91AD-026513B94DF7}" sibTransId="{8B2AE64C-6A07-C443-A1F6-52ECBE080F06}"/>
    <dgm:cxn modelId="{5A7E0449-6054-4D1B-AA57-431885B7DEF3}" type="presOf" srcId="{E926BE57-D61E-EC46-A318-90BD40707421}" destId="{99403AB6-95A2-3740-B464-166DB1DD9B96}" srcOrd="1" destOrd="0" presId="urn:microsoft.com/office/officeart/2005/8/layout/list1"/>
    <dgm:cxn modelId="{E4047D0E-82FE-451B-812B-CD9AC4591492}" type="presOf" srcId="{1813E6D5-D750-2B49-92D5-BE03A7276045}" destId="{6FB31C1D-A1E9-0741-A8F9-7197CB8AD9B5}" srcOrd="0" destOrd="0" presId="urn:microsoft.com/office/officeart/2005/8/layout/list1"/>
    <dgm:cxn modelId="{39DCDC5C-D9F4-4664-A61A-2409C36B06AE}" type="presOf" srcId="{705AD600-3006-1348-88E5-E791D2AFAD28}" destId="{BCE3E420-7C8B-0141-BB2C-355647FE0249}" srcOrd="0" destOrd="0" presId="urn:microsoft.com/office/officeart/2005/8/layout/list1"/>
    <dgm:cxn modelId="{0BCC6CF2-211F-4299-9892-6111722670D0}" type="presOf" srcId="{C17E2239-D2BA-1043-A660-C282DBF9C9C0}" destId="{3AD82BCB-3B63-F34F-AD87-9DE11B2E11FB}" srcOrd="0" destOrd="0" presId="urn:microsoft.com/office/officeart/2005/8/layout/list1"/>
    <dgm:cxn modelId="{F124AC85-EB6D-974B-B979-5D355CB153A3}" srcId="{1813E6D5-D750-2B49-92D5-BE03A7276045}" destId="{6DE09F33-2E14-9E40-AE28-C0F4B1B6CD6F}" srcOrd="0" destOrd="0" parTransId="{53E445A6-2924-D047-AF32-0E0463F01248}" sibTransId="{FBFDD97A-4628-3F44-A5C3-B07D26A0916A}"/>
    <dgm:cxn modelId="{71179C31-8746-4769-9992-D6FA92E06E20}" type="presOf" srcId="{1813E6D5-D750-2B49-92D5-BE03A7276045}" destId="{B9C99667-D621-AE42-B0C9-5A0D68FBE4BB}" srcOrd="1" destOrd="0" presId="urn:microsoft.com/office/officeart/2005/8/layout/list1"/>
    <dgm:cxn modelId="{6CCEE086-7862-4140-A46E-BA3D0F0393C3}" srcId="{2790369E-9F3F-A14A-AFB9-D66F4E76D135}" destId="{F7E1C195-297D-F248-B62D-84E953E68ADD}" srcOrd="0" destOrd="0" parTransId="{A4CB2BAC-4287-F64E-B8BE-C0004C24F8B3}" sibTransId="{0C082972-4170-6944-AD48-D0242EFA1F81}"/>
    <dgm:cxn modelId="{254ABAB5-6111-4B1C-BFC5-F8FB5F79C9CE}" type="presOf" srcId="{2790369E-9F3F-A14A-AFB9-D66F4E76D135}" destId="{D6467707-AFDB-4748-A7B9-0F34C1A8A6A8}" srcOrd="0" destOrd="0" presId="urn:microsoft.com/office/officeart/2005/8/layout/list1"/>
    <dgm:cxn modelId="{CAC95EDE-0365-1244-8111-9E0D51B2EFF3}" srcId="{BFC36017-EAFA-2A45-8DAE-CB233FE4501C}" destId="{705AD600-3006-1348-88E5-E791D2AFAD28}" srcOrd="0" destOrd="0" parTransId="{D7ED6725-ED0E-FD4A-BF69-AC60AEAEB22F}" sibTransId="{96F292C9-B935-5344-949A-D43718384BAB}"/>
    <dgm:cxn modelId="{4CA6535A-92F6-224C-9F09-4BFDE9D84D62}" srcId="{BFC36017-EAFA-2A45-8DAE-CB233FE4501C}" destId="{528BD017-E8B0-6C45-A1D5-1BA39DB8F784}" srcOrd="2" destOrd="0" parTransId="{6451A533-BADC-1747-9162-253E41D8620D}" sibTransId="{C7056045-A5AF-C74F-B84A-32C66B45F18E}"/>
    <dgm:cxn modelId="{5FCE4192-0DB0-46ED-935E-1084C9011D71}" type="presOf" srcId="{BFC36017-EAFA-2A45-8DAE-CB233FE4501C}" destId="{B19AFD0D-8417-034F-9F8D-4637221E1151}" srcOrd="0" destOrd="0" presId="urn:microsoft.com/office/officeart/2005/8/layout/list1"/>
    <dgm:cxn modelId="{3DA31E3E-BF1E-4A3C-98C8-FA1CF318E1CF}" type="presOf" srcId="{F7E1C195-297D-F248-B62D-84E953E68ADD}" destId="{208FF999-1BB5-174D-A7F6-CFCF7941C71E}" srcOrd="1" destOrd="0" presId="urn:microsoft.com/office/officeart/2005/8/layout/list1"/>
    <dgm:cxn modelId="{29844617-568C-A14E-8748-E1ABAF43FAD2}" srcId="{1813E6D5-D750-2B49-92D5-BE03A7276045}" destId="{496FD3C2-4705-044F-96B3-CD2ED009A70B}" srcOrd="2" destOrd="0" parTransId="{95E033C7-EF3B-2E46-BDC1-FF22B2C2FB21}" sibTransId="{DE6DCA24-A49D-D44C-B1E0-9F63E9B17CF7}"/>
    <dgm:cxn modelId="{F7BEB63A-208E-443F-A5AC-D35965E3F683}" type="presOf" srcId="{F7E1C195-297D-F248-B62D-84E953E68ADD}" destId="{D03CA43C-8D7E-934E-9DF8-40B45E7B3F54}" srcOrd="0" destOrd="0" presId="urn:microsoft.com/office/officeart/2005/8/layout/list1"/>
    <dgm:cxn modelId="{F078AE1A-8973-A34A-9C88-6B393F2DF052}" srcId="{1813E6D5-D750-2B49-92D5-BE03A7276045}" destId="{8A499DEF-9E6C-724D-94BF-F0DC3B222057}" srcOrd="1" destOrd="0" parTransId="{1ED21367-40DB-5545-A1C5-7D21E1B42CD1}" sibTransId="{F4C054AC-911D-5C4A-97FB-D43FBC68C2CF}"/>
    <dgm:cxn modelId="{B0880C95-DDE0-3F45-A4C4-632B5CF764A2}" srcId="{2790369E-9F3F-A14A-AFB9-D66F4E76D135}" destId="{BFC36017-EAFA-2A45-8DAE-CB233FE4501C}" srcOrd="2" destOrd="0" parTransId="{7336A199-DA32-EA45-8392-25D641E19CA2}" sibTransId="{CC3148F7-33BB-5740-AD01-6BF6573F1C8F}"/>
    <dgm:cxn modelId="{63BF6F34-CFB9-F041-87BA-B4C1E4CB9D3E}" srcId="{E926BE57-D61E-EC46-A318-90BD40707421}" destId="{CC086FDE-117A-F844-A562-47198D842483}" srcOrd="1" destOrd="0" parTransId="{AFF80F47-71ED-9A45-BC10-3257AA9DCC6C}" sibTransId="{5DCC52BC-D9DC-164D-8EFF-00E5951A6A67}"/>
    <dgm:cxn modelId="{B874AA7B-1F97-4FAE-AF99-091D32F64ECF}" type="presOf" srcId="{6082F555-46CF-8A41-9F51-4CBC01D913BA}" destId="{BCE3E420-7C8B-0141-BB2C-355647FE0249}" srcOrd="0" destOrd="1" presId="urn:microsoft.com/office/officeart/2005/8/layout/list1"/>
    <dgm:cxn modelId="{BA1FC0AE-9E71-4CA2-9DE2-7908FC366993}" type="presOf" srcId="{8A499DEF-9E6C-724D-94BF-F0DC3B222057}" destId="{315EE5EF-8A34-7E40-824F-ED60C3A3A82D}" srcOrd="0" destOrd="1" presId="urn:microsoft.com/office/officeart/2005/8/layout/list1"/>
    <dgm:cxn modelId="{ECE88F7F-D8B6-47D1-A7F0-950F0807E906}" type="presParOf" srcId="{D6467707-AFDB-4748-A7B9-0F34C1A8A6A8}" destId="{78D9E9AA-F732-E04F-A5AA-CFC9FF8B5D19}" srcOrd="0" destOrd="0" presId="urn:microsoft.com/office/officeart/2005/8/layout/list1"/>
    <dgm:cxn modelId="{9BC61165-A02D-47D8-816B-8F070493DBA5}" type="presParOf" srcId="{78D9E9AA-F732-E04F-A5AA-CFC9FF8B5D19}" destId="{D03CA43C-8D7E-934E-9DF8-40B45E7B3F54}" srcOrd="0" destOrd="0" presId="urn:microsoft.com/office/officeart/2005/8/layout/list1"/>
    <dgm:cxn modelId="{54977D38-F833-4DF5-93B7-41678A2449AA}" type="presParOf" srcId="{78D9E9AA-F732-E04F-A5AA-CFC9FF8B5D19}" destId="{208FF999-1BB5-174D-A7F6-CFCF7941C71E}" srcOrd="1" destOrd="0" presId="urn:microsoft.com/office/officeart/2005/8/layout/list1"/>
    <dgm:cxn modelId="{DF42F7E0-B73B-46F1-A6A2-7587941842CE}" type="presParOf" srcId="{D6467707-AFDB-4748-A7B9-0F34C1A8A6A8}" destId="{4F16CA42-ABC2-3C47-ACD7-53DCB6603009}" srcOrd="1" destOrd="0" presId="urn:microsoft.com/office/officeart/2005/8/layout/list1"/>
    <dgm:cxn modelId="{BDDB4C0D-A4CC-4E7B-A36E-D5915D8BA438}" type="presParOf" srcId="{D6467707-AFDB-4748-A7B9-0F34C1A8A6A8}" destId="{3D8DA0FF-7BCD-D248-9AC2-CE8BECA87D37}" srcOrd="2" destOrd="0" presId="urn:microsoft.com/office/officeart/2005/8/layout/list1"/>
    <dgm:cxn modelId="{A240282A-FF45-4965-B5B7-7650B07BEC89}" type="presParOf" srcId="{D6467707-AFDB-4748-A7B9-0F34C1A8A6A8}" destId="{084D551D-D858-6C49-B2EF-DE8AB4C2BEA4}" srcOrd="3" destOrd="0" presId="urn:microsoft.com/office/officeart/2005/8/layout/list1"/>
    <dgm:cxn modelId="{C4B204A6-E7B8-40DF-BBAD-F948ECD6526D}" type="presParOf" srcId="{D6467707-AFDB-4748-A7B9-0F34C1A8A6A8}" destId="{0AFB2144-71B8-AB4B-975C-30809CA17BB9}" srcOrd="4" destOrd="0" presId="urn:microsoft.com/office/officeart/2005/8/layout/list1"/>
    <dgm:cxn modelId="{B0A14F00-F7C3-40CE-B1B2-C0E31D4AF089}" type="presParOf" srcId="{0AFB2144-71B8-AB4B-975C-30809CA17BB9}" destId="{6FB31C1D-A1E9-0741-A8F9-7197CB8AD9B5}" srcOrd="0" destOrd="0" presId="urn:microsoft.com/office/officeart/2005/8/layout/list1"/>
    <dgm:cxn modelId="{FBD6D571-7BE2-472F-99CD-90895729636C}" type="presParOf" srcId="{0AFB2144-71B8-AB4B-975C-30809CA17BB9}" destId="{B9C99667-D621-AE42-B0C9-5A0D68FBE4BB}" srcOrd="1" destOrd="0" presId="urn:microsoft.com/office/officeart/2005/8/layout/list1"/>
    <dgm:cxn modelId="{613ECD51-EE79-4605-B70B-1E57BEC8E61E}" type="presParOf" srcId="{D6467707-AFDB-4748-A7B9-0F34C1A8A6A8}" destId="{287A73D2-B88C-4A45-9F31-ECEA9DD87730}" srcOrd="5" destOrd="0" presId="urn:microsoft.com/office/officeart/2005/8/layout/list1"/>
    <dgm:cxn modelId="{FAB830D4-5DFC-4989-8B61-F260BB5C2DAF}" type="presParOf" srcId="{D6467707-AFDB-4748-A7B9-0F34C1A8A6A8}" destId="{315EE5EF-8A34-7E40-824F-ED60C3A3A82D}" srcOrd="6" destOrd="0" presId="urn:microsoft.com/office/officeart/2005/8/layout/list1"/>
    <dgm:cxn modelId="{99729D34-62EA-4DE1-82C7-71AE03638B18}" type="presParOf" srcId="{D6467707-AFDB-4748-A7B9-0F34C1A8A6A8}" destId="{3963FF4E-2DE0-F944-88DE-58347FA4C989}" srcOrd="7" destOrd="0" presId="urn:microsoft.com/office/officeart/2005/8/layout/list1"/>
    <dgm:cxn modelId="{5723F381-200B-4F94-8ED4-AABB90E95393}" type="presParOf" srcId="{D6467707-AFDB-4748-A7B9-0F34C1A8A6A8}" destId="{5DA14CE4-ED46-4245-B4D9-89A973D07D05}" srcOrd="8" destOrd="0" presId="urn:microsoft.com/office/officeart/2005/8/layout/list1"/>
    <dgm:cxn modelId="{76A33BA3-2A25-4FA5-B414-8B19D4E122E5}" type="presParOf" srcId="{5DA14CE4-ED46-4245-B4D9-89A973D07D05}" destId="{B19AFD0D-8417-034F-9F8D-4637221E1151}" srcOrd="0" destOrd="0" presId="urn:microsoft.com/office/officeart/2005/8/layout/list1"/>
    <dgm:cxn modelId="{2A3653D4-A092-4FC7-95E4-178952F0A92D}" type="presParOf" srcId="{5DA14CE4-ED46-4245-B4D9-89A973D07D05}" destId="{275355BB-A2B6-5B49-9487-78D7BFCD4625}" srcOrd="1" destOrd="0" presId="urn:microsoft.com/office/officeart/2005/8/layout/list1"/>
    <dgm:cxn modelId="{9625F55E-B876-49E4-9FE4-00635568918F}" type="presParOf" srcId="{D6467707-AFDB-4748-A7B9-0F34C1A8A6A8}" destId="{BF8250C8-1A5D-594E-B63B-21258D94A329}" srcOrd="9" destOrd="0" presId="urn:microsoft.com/office/officeart/2005/8/layout/list1"/>
    <dgm:cxn modelId="{82E96468-2DC5-46B0-A20C-9EFB40279B95}" type="presParOf" srcId="{D6467707-AFDB-4748-A7B9-0F34C1A8A6A8}" destId="{BCE3E420-7C8B-0141-BB2C-355647FE0249}" srcOrd="10" destOrd="0" presId="urn:microsoft.com/office/officeart/2005/8/layout/list1"/>
    <dgm:cxn modelId="{37DDA55A-F832-49B4-9C3C-C0D1900A6BF9}" type="presParOf" srcId="{D6467707-AFDB-4748-A7B9-0F34C1A8A6A8}" destId="{F7AB5380-45B6-814E-AFB5-2F2A74E64757}" srcOrd="11" destOrd="0" presId="urn:microsoft.com/office/officeart/2005/8/layout/list1"/>
    <dgm:cxn modelId="{27B88C32-CC66-4167-AE70-EB19E5537F4E}" type="presParOf" srcId="{D6467707-AFDB-4748-A7B9-0F34C1A8A6A8}" destId="{DD89DF1F-1212-E34D-8E3B-120A270B12CE}" srcOrd="12" destOrd="0" presId="urn:microsoft.com/office/officeart/2005/8/layout/list1"/>
    <dgm:cxn modelId="{CC4D4A93-D166-402D-8682-6D9713B4EA85}" type="presParOf" srcId="{DD89DF1F-1212-E34D-8E3B-120A270B12CE}" destId="{08E418FA-58A5-AC43-BA2C-83FFD5042BA3}" srcOrd="0" destOrd="0" presId="urn:microsoft.com/office/officeart/2005/8/layout/list1"/>
    <dgm:cxn modelId="{DC4D6222-F9DF-444C-B95B-9778CA9DC529}" type="presParOf" srcId="{DD89DF1F-1212-E34D-8E3B-120A270B12CE}" destId="{99403AB6-95A2-3740-B464-166DB1DD9B96}" srcOrd="1" destOrd="0" presId="urn:microsoft.com/office/officeart/2005/8/layout/list1"/>
    <dgm:cxn modelId="{2187EBAE-9000-47B6-A4C8-C07B4CCC27DB}" type="presParOf" srcId="{D6467707-AFDB-4748-A7B9-0F34C1A8A6A8}" destId="{DAC68DF1-1BC8-7F43-8961-53FC8CEBB77F}" srcOrd="13" destOrd="0" presId="urn:microsoft.com/office/officeart/2005/8/layout/list1"/>
    <dgm:cxn modelId="{BBED53C7-9685-44B4-9EA1-49E371ACC3E2}" type="presParOf" srcId="{D6467707-AFDB-4748-A7B9-0F34C1A8A6A8}" destId="{3AD82BCB-3B63-F34F-AD87-9DE11B2E11FB}" srcOrd="14" destOrd="0" presId="urn:microsoft.com/office/officeart/2005/8/layout/list1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E64BE35F-1A42-F742-9E99-A37BC27A23EE}">
      <dsp:nvSpPr>
        <dsp:cNvPr id="0" name=""/>
        <dsp:cNvSpPr/>
      </dsp:nvSpPr>
      <dsp:spPr>
        <a:xfrm rot="5400000">
          <a:off x="4687524" y="-1878088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Coordinates the system</a:t>
          </a:r>
          <a:endParaRPr lang="en-GB" sz="14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Defines common tools</a:t>
          </a:r>
          <a:endParaRPr lang="en-GB" sz="14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Monitor performances</a:t>
          </a:r>
          <a:endParaRPr lang="en-GB" sz="14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Manages specific programmes</a:t>
          </a:r>
          <a:endParaRPr lang="en-GB" sz="14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2777471" y="86523"/>
        <a:ext cx="4883170" cy="1008506"/>
      </dsp:txXfrm>
    </dsp:sp>
    <dsp:sp modelId="{AA07C85F-1CFC-2143-965B-A96F06AB085A}">
      <dsp:nvSpPr>
        <dsp:cNvPr id="0" name=""/>
        <dsp:cNvSpPr/>
      </dsp:nvSpPr>
      <dsp:spPr>
        <a:xfrm>
          <a:off x="0" y="1784"/>
          <a:ext cx="2777472" cy="1177982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noProof="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ANPAL </a:t>
          </a:r>
          <a:br>
            <a:rPr lang="en-GB" sz="2800" kern="1200" noProof="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</a:br>
          <a:endParaRPr lang="en-GB" sz="2800" kern="1200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57504" y="59288"/>
        <a:ext cx="2662464" cy="1062974"/>
      </dsp:txXfrm>
    </dsp:sp>
    <dsp:sp modelId="{32773E47-C793-1A4B-AFC9-20276182B831}">
      <dsp:nvSpPr>
        <dsp:cNvPr id="0" name=""/>
        <dsp:cNvSpPr/>
      </dsp:nvSpPr>
      <dsp:spPr>
        <a:xfrm rot="5400000">
          <a:off x="4687524" y="-641207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Define regional programs for active labour market policies</a:t>
          </a:r>
          <a:endParaRPr lang="en-GB" sz="14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6223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4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Manage PES Offices</a:t>
          </a:r>
          <a:endParaRPr lang="en-GB" sz="14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2777471" y="1323404"/>
        <a:ext cx="4883170" cy="1008506"/>
      </dsp:txXfrm>
    </dsp:sp>
    <dsp:sp modelId="{2B1EBE99-F4C1-3843-A868-DCC6AFA77D9D}">
      <dsp:nvSpPr>
        <dsp:cNvPr id="0" name=""/>
        <dsp:cNvSpPr/>
      </dsp:nvSpPr>
      <dsp:spPr>
        <a:xfrm>
          <a:off x="0" y="1238665"/>
          <a:ext cx="2777472" cy="1177982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noProof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Regions</a:t>
          </a:r>
          <a:endParaRPr lang="en-GB" sz="2800" kern="1200" noProof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57504" y="1296169"/>
        <a:ext cx="2662464" cy="1062974"/>
      </dsp:txXfrm>
    </dsp:sp>
    <dsp:sp modelId="{55FA4650-3B76-C843-98CA-970B6F8F2D4B}">
      <dsp:nvSpPr>
        <dsp:cNvPr id="0" name=""/>
        <dsp:cNvSpPr/>
      </dsp:nvSpPr>
      <dsp:spPr>
        <a:xfrm rot="5400000">
          <a:off x="4677664" y="606831"/>
          <a:ext cx="1117622" cy="4937728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Social Security Institute</a:t>
          </a:r>
          <a:endParaRPr lang="en-GB" sz="12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Bilateral Funds</a:t>
          </a:r>
          <a:endParaRPr lang="en-GB" sz="12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ES</a:t>
          </a:r>
          <a:endParaRPr lang="en-GB" sz="12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Chambers of Commerce</a:t>
          </a:r>
          <a:endParaRPr lang="en-GB" sz="12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INAPP</a:t>
          </a:r>
          <a:endParaRPr lang="en-GB" sz="12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14300" lvl="1" indent="-114300" algn="l" defTabSz="5334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200" kern="1200" noProof="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INAIL</a:t>
          </a:r>
          <a:endParaRPr lang="en-GB" sz="1200" kern="1200" noProof="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2767611" y="2571442"/>
        <a:ext cx="4883170" cy="1008506"/>
      </dsp:txXfrm>
    </dsp:sp>
    <dsp:sp modelId="{7AB942F5-9D54-564A-9C0A-7E13737258B9}">
      <dsp:nvSpPr>
        <dsp:cNvPr id="0" name=""/>
        <dsp:cNvSpPr/>
      </dsp:nvSpPr>
      <dsp:spPr>
        <a:xfrm>
          <a:off x="0" y="2475547"/>
          <a:ext cx="2777472" cy="1177982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106680" tIns="53340" rIns="106680" bIns="53340" numCol="1" spcCol="1270" anchor="ctr" anchorCtr="0">
          <a:noAutofit/>
        </a:bodyPr>
        <a:lstStyle/>
        <a:p>
          <a:pPr lvl="0" algn="ctr" defTabSz="12446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800" kern="1200" noProof="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Other public and private bodies</a:t>
          </a:r>
          <a:endParaRPr lang="en-GB" sz="2800" kern="1200" noProof="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57504" y="2533051"/>
        <a:ext cx="2662464" cy="1062974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CD0D41E2-96B2-E44D-A2FF-B761B115596A}">
      <dsp:nvSpPr>
        <dsp:cNvPr id="0" name=""/>
        <dsp:cNvSpPr/>
      </dsp:nvSpPr>
      <dsp:spPr>
        <a:xfrm rot="5400000">
          <a:off x="4506164" y="-2566976"/>
          <a:ext cx="794251" cy="5934729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The new unemployment benefit scheme (NASpI)</a:t>
          </a:r>
          <a:endParaRPr lang="en-GB" sz="17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ES, including those for disabled;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ESF programming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1935925" y="42035"/>
        <a:ext cx="5895957" cy="716707"/>
      </dsp:txXfrm>
    </dsp:sp>
    <dsp:sp modelId="{867287C8-5658-2943-8711-A81604E05C5A}">
      <dsp:nvSpPr>
        <dsp:cNvPr id="0" name=""/>
        <dsp:cNvSpPr/>
      </dsp:nvSpPr>
      <dsp:spPr>
        <a:xfrm>
          <a:off x="0" y="10485"/>
          <a:ext cx="1878696" cy="779804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Coordination</a:t>
          </a:r>
          <a:endParaRPr lang="en-GB" sz="20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38067" y="48552"/>
        <a:ext cx="1802562" cy="703670"/>
      </dsp:txXfrm>
    </dsp:sp>
    <dsp:sp modelId="{21D8BB60-5737-B54D-9C1B-DF29CBFA0890}">
      <dsp:nvSpPr>
        <dsp:cNvPr id="0" name=""/>
        <dsp:cNvSpPr/>
      </dsp:nvSpPr>
      <dsp:spPr>
        <a:xfrm rot="5400000">
          <a:off x="4409815" y="-1475793"/>
          <a:ext cx="97804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Service standards</a:t>
          </a:r>
          <a:endParaRPr lang="en-GB" sz="17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ofiling methodologies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Employment voucher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IT system for ALMP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1934373" y="1047393"/>
        <a:ext cx="5881189" cy="882560"/>
      </dsp:txXfrm>
    </dsp:sp>
    <dsp:sp modelId="{CE13CA5C-8308-A440-B29A-430BC651571C}">
      <dsp:nvSpPr>
        <dsp:cNvPr id="0" name=""/>
        <dsp:cNvSpPr/>
      </dsp:nvSpPr>
      <dsp:spPr>
        <a:xfrm>
          <a:off x="0" y="846767"/>
          <a:ext cx="1876861" cy="1283811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Definition of  common tools</a:t>
          </a:r>
          <a:endParaRPr lang="en-GB" sz="20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62670" y="909437"/>
        <a:ext cx="1751521" cy="1158471"/>
      </dsp:txXfrm>
    </dsp:sp>
    <dsp:sp modelId="{2C12D396-5422-2B4B-A600-7E874EAB7801}">
      <dsp:nvSpPr>
        <dsp:cNvPr id="0" name=""/>
        <dsp:cNvSpPr/>
      </dsp:nvSpPr>
      <dsp:spPr>
        <a:xfrm rot="5400000">
          <a:off x="4335974" y="-221770"/>
          <a:ext cx="1125728" cy="5928933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National Operation Programmes (cofinanced by the ESF)</a:t>
          </a:r>
          <a:endParaRPr lang="en-GB" sz="17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ogrammes for crisis management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Experimental ALMP programmes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dirty="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Programmes aimed at improving regional performances</a:t>
          </a:r>
          <a:endParaRPr lang="en-GB" sz="1700" kern="1200" dirty="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1934372" y="2234786"/>
        <a:ext cx="5873979" cy="1015820"/>
      </dsp:txXfrm>
    </dsp:sp>
    <dsp:sp modelId="{F84727A8-4A8C-E444-B326-95241EA0DF96}">
      <dsp:nvSpPr>
        <dsp:cNvPr id="0" name=""/>
        <dsp:cNvSpPr/>
      </dsp:nvSpPr>
      <dsp:spPr>
        <a:xfrm>
          <a:off x="0" y="2210792"/>
          <a:ext cx="1876861" cy="1063807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Management</a:t>
          </a:r>
          <a:endParaRPr lang="en-GB" sz="20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51931" y="2262723"/>
        <a:ext cx="1772999" cy="959945"/>
      </dsp:txXfrm>
    </dsp:sp>
    <dsp:sp modelId="{DC58AB84-E75C-2D43-867C-84635320F92E}">
      <dsp:nvSpPr>
        <dsp:cNvPr id="0" name=""/>
        <dsp:cNvSpPr/>
      </dsp:nvSpPr>
      <dsp:spPr>
        <a:xfrm rot="5400000">
          <a:off x="4670417" y="678535"/>
          <a:ext cx="465745" cy="5934729"/>
        </a:xfrm>
        <a:prstGeom prst="round2SameRect">
          <a:avLst/>
        </a:prstGeom>
        <a:solidFill>
          <a:srgbClr val="4F81BD">
            <a:alpha val="90000"/>
            <a:tint val="40000"/>
            <a:hueOff val="0"/>
            <a:satOff val="0"/>
            <a:lumOff val="0"/>
            <a:alphaOff val="0"/>
          </a:srgbClr>
        </a:solidFill>
        <a:ln w="9525" cap="flat" cmpd="sng" algn="ctr">
          <a:solidFill>
            <a:srgbClr val="4F81BD">
              <a:alpha val="90000"/>
              <a:tint val="40000"/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1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247650" tIns="123825" rIns="247650" bIns="123825" numCol="1" spcCol="1270" anchor="ctr" anchorCtr="0">
          <a:noAutofit/>
        </a:bodyPr>
        <a:lstStyle/>
        <a:p>
          <a:pPr marL="171450" lvl="1" indent="-171450" algn="l" defTabSz="75565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en-GB" sz="1700" kern="1200" smtClean="0">
              <a:solidFill>
                <a:sysClr val="windowText" lastClr="000000">
                  <a:hueOff val="0"/>
                  <a:satOff val="0"/>
                  <a:lumOff val="0"/>
                  <a:alphaOff val="0"/>
                </a:sysClr>
              </a:solidFill>
              <a:latin typeface="Calibri"/>
              <a:ea typeface="+mn-ea"/>
              <a:cs typeface="+mn-cs"/>
            </a:rPr>
            <a:t>Bilateral Funds for the training of workers</a:t>
          </a:r>
          <a:endParaRPr lang="en-GB" sz="1700" kern="1200">
            <a:solidFill>
              <a:sysClr val="windowText" lastClr="000000">
                <a:hueOff val="0"/>
                <a:satOff val="0"/>
                <a:lumOff val="0"/>
                <a:alphaOff val="0"/>
              </a:sysClr>
            </a:solidFill>
            <a:latin typeface="Calibri"/>
            <a:ea typeface="+mn-ea"/>
            <a:cs typeface="+mn-cs"/>
          </a:endParaRPr>
        </a:p>
      </dsp:txBody>
      <dsp:txXfrm rot="-5400000">
        <a:off x="1935925" y="3435763"/>
        <a:ext cx="5911993" cy="420273"/>
      </dsp:txXfrm>
    </dsp:sp>
    <dsp:sp modelId="{94A5D2FB-58E3-5341-8FFB-1C16924EB529}">
      <dsp:nvSpPr>
        <dsp:cNvPr id="0" name=""/>
        <dsp:cNvSpPr/>
      </dsp:nvSpPr>
      <dsp:spPr>
        <a:xfrm>
          <a:off x="0" y="3354813"/>
          <a:ext cx="1878696" cy="582171"/>
        </a:xfrm>
        <a:prstGeom prst="roundRect">
          <a:avLst/>
        </a:prstGeom>
        <a:gradFill rotWithShape="0">
          <a:gsLst>
            <a:gs pos="0">
              <a:srgbClr val="4F81BD">
                <a:hueOff val="0"/>
                <a:satOff val="0"/>
                <a:lumOff val="0"/>
                <a:alphaOff val="0"/>
                <a:tint val="100000"/>
                <a:shade val="100000"/>
                <a:satMod val="130000"/>
              </a:srgbClr>
            </a:gs>
            <a:gs pos="100000">
              <a:srgbClr val="4F81BD">
                <a:hueOff val="0"/>
                <a:satOff val="0"/>
                <a:lumOff val="0"/>
                <a:alphaOff val="0"/>
                <a:tint val="50000"/>
                <a:shade val="100000"/>
                <a:satMod val="350000"/>
              </a:srgbClr>
            </a:gs>
          </a:gsLst>
          <a:lin ang="16200000" scaled="0"/>
        </a:gradFill>
        <a:ln>
          <a:noFill/>
        </a:ln>
        <a:effectLst>
          <a:outerShdw blurRad="40000" dist="23000" dir="5400000" rotWithShape="0">
            <a:srgbClr val="000000">
              <a:alpha val="35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  <dsp:txBody>
        <a:bodyPr spcFirstLastPara="0" vert="horz" wrap="square" lIns="76200" tIns="38100" rIns="76200" bIns="38100" numCol="1" spcCol="1270" anchor="ctr" anchorCtr="0">
          <a:noAutofit/>
        </a:bodyPr>
        <a:lstStyle/>
        <a:p>
          <a:pPr lvl="0" algn="ctr" defTabSz="8890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en-GB" sz="2000" kern="1200" dirty="0" smtClean="0">
              <a:solidFill>
                <a:sysClr val="window" lastClr="FFFFFF"/>
              </a:solidFill>
              <a:latin typeface="Calibri"/>
              <a:ea typeface="+mn-ea"/>
              <a:cs typeface="+mn-cs"/>
            </a:rPr>
            <a:t>Monitoring</a:t>
          </a:r>
          <a:endParaRPr lang="en-GB" sz="2000" kern="1200" dirty="0">
            <a:solidFill>
              <a:sysClr val="window" lastClr="FFFFFF"/>
            </a:solidFill>
            <a:latin typeface="Calibri"/>
            <a:ea typeface="+mn-ea"/>
            <a:cs typeface="+mn-cs"/>
          </a:endParaRPr>
        </a:p>
      </dsp:txBody>
      <dsp:txXfrm>
        <a:off x="28419" y="3383232"/>
        <a:ext cx="1821858" cy="525333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D8DA0FF-7BCD-D248-9AC2-CE8BECA87D37}">
      <dsp:nvSpPr>
        <dsp:cNvPr id="0" name=""/>
        <dsp:cNvSpPr/>
      </dsp:nvSpPr>
      <dsp:spPr>
        <a:xfrm>
          <a:off x="0" y="246162"/>
          <a:ext cx="8599051" cy="3528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</dsp:sp>
    <dsp:sp modelId="{208FF999-1BB5-174D-A7F6-CFCF7941C71E}">
      <dsp:nvSpPr>
        <dsp:cNvPr id="0" name=""/>
        <dsp:cNvSpPr/>
      </dsp:nvSpPr>
      <dsp:spPr>
        <a:xfrm>
          <a:off x="432046" y="24508"/>
          <a:ext cx="6019335" cy="41328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17" tIns="0" rIns="227517" bIns="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Coordination</a:t>
          </a:r>
          <a:r>
            <a:rPr lang="it-IT" sz="1800" kern="12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 of the National </a:t>
          </a:r>
          <a:r>
            <a:rPr lang="it-IT" sz="1800" kern="12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ALMPs</a:t>
          </a:r>
          <a:r>
            <a:rPr lang="it-IT" sz="1800" kern="12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 network</a:t>
          </a:r>
          <a:endParaRPr lang="it-IT" sz="1800" kern="1200" dirty="0">
            <a:solidFill>
              <a:srgbClr val="FFFFFF"/>
            </a:solidFill>
            <a:latin typeface="Calisto MT"/>
            <a:ea typeface="+mn-ea"/>
            <a:cs typeface="+mn-cs"/>
          </a:endParaRPr>
        </a:p>
      </dsp:txBody>
      <dsp:txXfrm>
        <a:off x="452221" y="44683"/>
        <a:ext cx="5978985" cy="372930"/>
      </dsp:txXfrm>
    </dsp:sp>
    <dsp:sp modelId="{315EE5EF-8A34-7E40-824F-ED60C3A3A82D}">
      <dsp:nvSpPr>
        <dsp:cNvPr id="0" name=""/>
        <dsp:cNvSpPr/>
      </dsp:nvSpPr>
      <dsp:spPr>
        <a:xfrm>
          <a:off x="0" y="897047"/>
          <a:ext cx="8599051" cy="121275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7382" tIns="291592" rIns="667382" bIns="128016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Profiling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of </a:t>
          </a: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joobseekers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(quantitative and e qualitative)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Standard of </a:t>
          </a: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services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Standard</a:t>
          </a:r>
          <a:r>
            <a:rPr lang="it-IT" sz="1800" kern="1200" baseline="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of </a:t>
          </a:r>
          <a:r>
            <a:rPr lang="it-IT" sz="1800" kern="1200" baseline="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sts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sp:txBody>
      <dsp:txXfrm>
        <a:off x="0" y="897047"/>
        <a:ext cx="8599051" cy="1212750"/>
      </dsp:txXfrm>
    </dsp:sp>
    <dsp:sp modelId="{B9C99667-D621-AE42-B0C9-5A0D68FBE4BB}">
      <dsp:nvSpPr>
        <dsp:cNvPr id="0" name=""/>
        <dsp:cNvSpPr/>
      </dsp:nvSpPr>
      <dsp:spPr>
        <a:xfrm>
          <a:off x="429952" y="674562"/>
          <a:ext cx="6019335" cy="41328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17" tIns="0" rIns="227517" bIns="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Definition of common </a:t>
          </a:r>
          <a:r>
            <a:rPr lang="it-IT" sz="1800" kern="12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methodologies</a:t>
          </a:r>
          <a:endParaRPr lang="it-IT" sz="1800" kern="1200" dirty="0">
            <a:solidFill>
              <a:srgbClr val="FFFFFF"/>
            </a:solidFill>
            <a:latin typeface="Calisto MT"/>
            <a:ea typeface="+mn-ea"/>
            <a:cs typeface="+mn-cs"/>
          </a:endParaRPr>
        </a:p>
      </dsp:txBody>
      <dsp:txXfrm>
        <a:off x="450127" y="694737"/>
        <a:ext cx="5978985" cy="372930"/>
      </dsp:txXfrm>
    </dsp:sp>
    <dsp:sp modelId="{BCE3E420-7C8B-0141-BB2C-355647FE0249}">
      <dsp:nvSpPr>
        <dsp:cNvPr id="0" name=""/>
        <dsp:cNvSpPr/>
      </dsp:nvSpPr>
      <dsp:spPr>
        <a:xfrm>
          <a:off x="0" y="2376193"/>
          <a:ext cx="8599051" cy="149940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7382" tIns="291592" rIns="667382" bIns="128016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Did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on line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Re-</a:t>
          </a: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placement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voucher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nditionalities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mpulsory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</a:t>
          </a: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mmunication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for </a:t>
          </a: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contracts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sp:txBody>
      <dsp:txXfrm>
        <a:off x="0" y="2376193"/>
        <a:ext cx="8599051" cy="1499400"/>
      </dsp:txXfrm>
    </dsp:sp>
    <dsp:sp modelId="{275355BB-A2B6-5B49-9487-78D7BFCD4625}">
      <dsp:nvSpPr>
        <dsp:cNvPr id="0" name=""/>
        <dsp:cNvSpPr/>
      </dsp:nvSpPr>
      <dsp:spPr>
        <a:xfrm>
          <a:off x="429952" y="2169552"/>
          <a:ext cx="6019335" cy="41328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17" tIns="0" rIns="227517" bIns="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IT System</a:t>
          </a:r>
          <a:endParaRPr lang="it-IT" sz="1800" kern="1200" dirty="0">
            <a:solidFill>
              <a:srgbClr val="FFFFFF"/>
            </a:solidFill>
            <a:latin typeface="Calisto MT"/>
            <a:ea typeface="+mn-ea"/>
            <a:cs typeface="+mn-cs"/>
          </a:endParaRPr>
        </a:p>
      </dsp:txBody>
      <dsp:txXfrm>
        <a:off x="450127" y="2189727"/>
        <a:ext cx="5978985" cy="372930"/>
      </dsp:txXfrm>
    </dsp:sp>
    <dsp:sp modelId="{3AD82BCB-3B63-F34F-AD87-9DE11B2E11FB}">
      <dsp:nvSpPr>
        <dsp:cNvPr id="0" name=""/>
        <dsp:cNvSpPr/>
      </dsp:nvSpPr>
      <dsp:spPr>
        <a:xfrm>
          <a:off x="0" y="4157833"/>
          <a:ext cx="8599051" cy="948150"/>
        </a:xfrm>
        <a:prstGeom prst="rect">
          <a:avLst/>
        </a:prstGeom>
        <a:solidFill>
          <a:srgbClr val="FFFFFF">
            <a:alpha val="90000"/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4B5A60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67382" tIns="291592" rIns="667382" bIns="128016" numCol="1" spcCol="1270" anchor="t" anchorCtr="0">
          <a:noAutofit/>
        </a:bodyPr>
        <a:lstStyle/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Re-</a:t>
          </a: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placement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voucher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  <a:p>
          <a:pPr marL="171450" lvl="1" indent="-171450" algn="l" defTabSz="800100" rtl="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•"/>
          </a:pP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Employment</a:t>
          </a:r>
          <a:r>
            <a:rPr lang="it-IT" sz="1800" kern="1200" dirty="0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 </a:t>
          </a:r>
          <a:r>
            <a:rPr lang="it-IT" sz="1800" kern="1200" dirty="0" err="1" smtClean="0">
              <a:solidFill>
                <a:srgbClr val="000000">
                  <a:hueOff val="0"/>
                  <a:satOff val="0"/>
                  <a:lumOff val="0"/>
                  <a:alphaOff val="0"/>
                </a:srgbClr>
              </a:solidFill>
              <a:latin typeface="Calisto MT"/>
              <a:ea typeface="+mn-ea"/>
              <a:cs typeface="+mn-cs"/>
            </a:rPr>
            <a:t>incentives</a:t>
          </a:r>
          <a:endParaRPr lang="it-IT" sz="1800" kern="1200" dirty="0">
            <a:solidFill>
              <a:srgbClr val="000000">
                <a:hueOff val="0"/>
                <a:satOff val="0"/>
                <a:lumOff val="0"/>
                <a:alphaOff val="0"/>
              </a:srgbClr>
            </a:solidFill>
            <a:latin typeface="Calisto MT"/>
            <a:ea typeface="+mn-ea"/>
            <a:cs typeface="+mn-cs"/>
          </a:endParaRPr>
        </a:p>
      </dsp:txBody>
      <dsp:txXfrm>
        <a:off x="0" y="4157833"/>
        <a:ext cx="8599051" cy="948150"/>
      </dsp:txXfrm>
    </dsp:sp>
    <dsp:sp modelId="{99403AB6-95A2-3740-B464-166DB1DD9B96}">
      <dsp:nvSpPr>
        <dsp:cNvPr id="0" name=""/>
        <dsp:cNvSpPr/>
      </dsp:nvSpPr>
      <dsp:spPr>
        <a:xfrm>
          <a:off x="429952" y="3951192"/>
          <a:ext cx="6019335" cy="413280"/>
        </a:xfrm>
        <a:prstGeom prst="roundRect">
          <a:avLst/>
        </a:prstGeom>
        <a:solidFill>
          <a:srgbClr val="4B5A60">
            <a:hueOff val="0"/>
            <a:satOff val="0"/>
            <a:lumOff val="0"/>
            <a:alphaOff val="0"/>
          </a:srgbClr>
        </a:solidFill>
        <a:ln w="31750" cap="flat" cmpd="sng" algn="ctr">
          <a:solidFill>
            <a:srgbClr val="FFFFFF">
              <a:hueOff val="0"/>
              <a:satOff val="0"/>
              <a:lumOff val="0"/>
              <a:alphaOff val="0"/>
            </a:srgbClr>
          </a:solidFill>
          <a:prstDash val="solid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227517" tIns="0" rIns="227517" bIns="0" numCol="1" spcCol="1270" anchor="ctr" anchorCtr="0">
          <a:noAutofit/>
        </a:bodyPr>
        <a:lstStyle/>
        <a:p>
          <a:pPr lvl="0" algn="l" defTabSz="800100" rtl="0">
            <a:lnSpc>
              <a:spcPct val="90000"/>
            </a:lnSpc>
            <a:spcBef>
              <a:spcPct val="0"/>
            </a:spcBef>
            <a:spcAft>
              <a:spcPct val="35000"/>
            </a:spcAft>
          </a:pPr>
          <a:r>
            <a:rPr lang="it-IT" sz="1800" kern="1200" dirty="0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Direct </a:t>
          </a:r>
          <a:r>
            <a:rPr lang="it-IT" sz="1800" kern="1200" dirty="0" err="1" smtClean="0">
              <a:solidFill>
                <a:srgbClr val="FFFFFF"/>
              </a:solidFill>
              <a:latin typeface="Calisto MT"/>
              <a:ea typeface="+mn-ea"/>
              <a:cs typeface="+mn-cs"/>
            </a:rPr>
            <a:t>projects</a:t>
          </a:r>
          <a:endParaRPr lang="it-IT" sz="1800" kern="1200" dirty="0">
            <a:solidFill>
              <a:srgbClr val="FFFFFF"/>
            </a:solidFill>
            <a:latin typeface="Calisto MT"/>
            <a:ea typeface="+mn-ea"/>
            <a:cs typeface="+mn-cs"/>
          </a:endParaRPr>
        </a:p>
      </dsp:txBody>
      <dsp:txXfrm>
        <a:off x="450127" y="3971367"/>
        <a:ext cx="5978985" cy="37293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vList5">
  <dgm:title val=""/>
  <dgm:desc val=""/>
  <dgm:catLst>
    <dgm:cat type="list" pri="15000"/>
    <dgm:cat type="convert" pri="2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>
          <dgm:param type="linDir" val="fromT"/>
          <dgm:param type="nodeHorzAlign" val="l"/>
        </dgm:alg>
      </dgm:if>
      <dgm:else name="Name3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linNode" refType="h"/>
      <dgm:constr type="w" for="ch" forName="linNode" refType="w"/>
      <dgm:constr type="h" for="ch" forName="sp" refType="h" fact="0.05"/>
      <dgm:constr type="primFontSz" for="des" forName="parentText" op="equ" val="65"/>
      <dgm:constr type="secFontSz" for="des" forName="descendantText" op="equ"/>
    </dgm:constrLst>
    <dgm:ruleLst/>
    <dgm:forEach name="Name4" axis="ch" ptType="node">
      <dgm:layoutNode name="linNode">
        <dgm:choose name="Name5">
          <dgm:if name="Name6" func="var" arg="dir" op="equ" val="norm">
            <dgm:alg type="lin">
              <dgm:param type="linDir" val="fromL"/>
            </dgm:alg>
          </dgm:if>
          <dgm:else name="Name7">
            <dgm:alg type="lin">
              <dgm:param type="linDir" val="fromR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forName="parentText" refType="w" fact="0.36"/>
          <dgm:constr type="w" for="ch" forName="descendantText" refType="w" fact="0.64"/>
          <dgm:constr type="h" for="ch" forName="parentText" refType="h"/>
          <dgm:constr type="h" for="ch" forName="descendantText" refType="h" refFor="ch" refForName="parentText" fact="0.8"/>
        </dgm:constrLst>
        <dgm:ruleLst/>
        <dgm:layoutNode name="parentText">
          <dgm:varLst>
            <dgm:chMax val="1"/>
            <dgm:bulletEnabled val="1"/>
          </dgm:varLst>
          <dgm:alg type="tx"/>
          <dgm:shape xmlns:r="http://schemas.openxmlformats.org/officeDocument/2006/relationships" type="roundRect" r:blip="" zOrderOff="3">
            <dgm:adjLst/>
          </dgm:shape>
          <dgm:presOf axis="self" ptType="node"/>
          <dgm:constrLst>
            <dgm:constr type="tMarg" refType="primFontSz" fact="0.15"/>
            <dgm:constr type="bMarg" refType="primFontSz" fact="0.15"/>
            <dgm:constr type="lMarg" refType="primFontSz" fact="0.3"/>
            <dgm:constr type="rMarg" refType="primFontSz" fact="0.3"/>
          </dgm:constrLst>
          <dgm:ruleLst>
            <dgm:rule type="primFontSz" val="5" fact="NaN" max="NaN"/>
          </dgm:ruleLst>
        </dgm:layoutNode>
        <dgm:choose name="Name8">
          <dgm:if name="Name9" axis="ch" ptType="node" func="cnt" op="gte" val="1">
            <dgm:layoutNode name="descendantText" styleLbl="alignAccFollowNode1">
              <dgm:varLst>
                <dgm:bulletEnabled val="1"/>
              </dgm:varLst>
              <dgm:alg type="tx">
                <dgm:param type="stBulletLvl" val="1"/>
                <dgm:param type="txAnchorVertCh" val="mid"/>
              </dgm:alg>
              <dgm:choose name="Name10">
                <dgm:if name="Name11" func="var" arg="dir" op="equ" val="norm">
                  <dgm:shape xmlns:r="http://schemas.openxmlformats.org/officeDocument/2006/relationships" rot="90" type="round2SameRect" r:blip="">
                    <dgm:adjLst/>
                  </dgm:shape>
                </dgm:if>
                <dgm:else name="Name12">
                  <dgm:shape xmlns:r="http://schemas.openxmlformats.org/officeDocument/2006/relationships" rot="-90" type="round2SameRect" r:blip="">
                    <dgm:adjLst/>
                  </dgm:shape>
                </dgm:else>
              </dgm:choose>
              <dgm:presOf axis="des" ptType="node"/>
              <dgm:constrLst>
                <dgm:constr type="secFontSz" val="65"/>
                <dgm:constr type="primFontSz" refType="secFontSz"/>
                <dgm:constr type="lMarg" refType="secFontSz" fact="0.3"/>
                <dgm:constr type="rMarg" refType="secFontSz" fact="0.3"/>
                <dgm:constr type="tMarg" refType="secFontSz" fact="0.15"/>
                <dgm:constr type="bMarg" refType="secFontSz" fact="0.15"/>
              </dgm:constrLst>
              <dgm:ruleLst>
                <dgm:rule type="secFontSz" val="5" fact="NaN" max="NaN"/>
              </dgm:ruleLst>
            </dgm:layoutNode>
          </dgm:if>
          <dgm:else name="Name13"/>
        </dgm:choose>
      </dgm:layoutNode>
      <dgm:forEach name="Name14" axis="followSib" ptType="sibTrans" cnt="1">
        <dgm:layoutNode name="sp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list1">
  <dgm:title val=""/>
  <dgm:desc val=""/>
  <dgm:catLst>
    <dgm:cat type="list" pri="4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4" srcId="0" destId="1" srcOrd="0" destOrd="0"/>
        <dgm:cxn modelId="5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dir/>
      <dgm:animLvl val="lvl"/>
      <dgm:resizeHandles val="exact"/>
    </dgm:varLst>
    <dgm:choose name="Name0">
      <dgm:if name="Name1" func="var" arg="dir" op="equ" val="norm">
        <dgm:alg type="lin">
          <dgm:param type="linDir" val="fromT"/>
          <dgm:param type="vertAlign" val="mid"/>
          <dgm:param type="horzAlign" val="l"/>
          <dgm:param type="nodeHorzAlign" val="l"/>
        </dgm:alg>
      </dgm:if>
      <dgm:else name="Name2">
        <dgm:alg type="lin">
          <dgm:param type="linDir" val="fromT"/>
          <dgm:param type="vertAlign" val="mid"/>
          <dgm:param type="horzAlign" val="r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parentLin" refType="w"/>
      <dgm:constr type="h" for="ch" forName="parentLin" val="INF"/>
      <dgm:constr type="w" for="des" forName="parentLeftMargin" refType="w" fact="0.05"/>
      <dgm:constr type="w" for="des" forName="parentText" refType="w" fact="0.7"/>
      <dgm:constr type="h" for="des" forName="parentText" refType="primFontSz" refFor="des" refForName="parentText" fact="0.82"/>
      <dgm:constr type="h" for="ch" forName="negativeSpace" refType="primFontSz" refFor="des" refForName="parentText" fact="-0.41"/>
      <dgm:constr type="h" for="ch" forName="negativeSpace" refType="h" refFor="des" refForName="parentText" op="lte" fact="-0.82"/>
      <dgm:constr type="h" for="ch" forName="negativeSpace" refType="h" refFor="des" refForName="parentText" op="gte" fact="-0.82"/>
      <dgm:constr type="w" for="ch" forName="childText" refType="w"/>
      <dgm:constr type="h" for="ch" forName="childText" refType="primFontSz" refFor="des" refForName="parentText" fact="0.7"/>
      <dgm:constr type="primFontSz" for="des" forName="parentText" val="65"/>
      <dgm:constr type="primFontSz" for="ch" forName="childText" refType="primFontSz" refFor="des" refForName="parentText"/>
      <dgm:constr type="tMarg" for="ch" forName="childText" refType="primFontSz" refFor="des" refForName="parentText" fact="1.64"/>
      <dgm:constr type="tMarg" for="ch" forName="childText" refType="h" refFor="des" refForName="parentText" op="lte" fact="3.28"/>
      <dgm:constr type="tMarg" for="ch" forName="childText" refType="h" refFor="des" refForName="parentText" op="gte" fact="3.28"/>
      <dgm:constr type="lMarg" for="ch" forName="childText" refType="w" fact="0.22"/>
      <dgm:constr type="rMarg" for="ch" forName="childText" refType="lMarg" refFor="ch" refForName="childText"/>
      <dgm:constr type="lMarg" for="des" forName="parentText" refType="w" fact="0.075"/>
      <dgm:constr type="rMarg" for="des" forName="parentText" refType="lMarg" refFor="des" refForName="parentText"/>
      <dgm:constr type="h" for="ch" forName="spaceBetweenRectangles" refType="primFontSz" refFor="des" refForName="parentText" fact="0.15"/>
    </dgm:constrLst>
    <dgm:ruleLst>
      <dgm:rule type="primFontSz" for="des" forName="parentText" val="5" fact="NaN" max="NaN"/>
    </dgm:ruleLst>
    <dgm:forEach name="Name3" axis="ch" ptType="node">
      <dgm:layoutNode name="parentLin">
        <dgm:choose name="Name4">
          <dgm:if name="Name5" func="var" arg="dir" op="equ" val="norm">
            <dgm:alg type="lin">
              <dgm:param type="linDir" val="fromL"/>
              <dgm:param type="horzAlign" val="l"/>
              <dgm:param type="nodeHorzAlign" val="l"/>
            </dgm:alg>
          </dgm:if>
          <dgm:else name="Name6">
            <dgm:alg type="lin">
              <dgm:param type="linDir" val="fromR"/>
              <dgm:param type="horzAlign" val="r"/>
              <dgm:param type="nodeHorzAlign" val="r"/>
            </dgm:alg>
          </dgm:else>
        </dgm:choose>
        <dgm:shape xmlns:r="http://schemas.openxmlformats.org/officeDocument/2006/relationships" r:blip="">
          <dgm:adjLst/>
        </dgm:shape>
        <dgm:presOf/>
        <dgm:constrLst/>
        <dgm:ruleLst/>
        <dgm:layoutNode name="parentLeftMargin">
          <dgm:alg type="sp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h"/>
          </dgm:constrLst>
          <dgm:ruleLst/>
        </dgm:layoutNode>
        <dgm:layoutNode name="parentText" styleLbl="node1">
          <dgm:varLst>
            <dgm:chMax val="0"/>
            <dgm:bulletEnabled val="1"/>
          </dgm:varLst>
          <dgm:choose name="Name7">
            <dgm:if name="Name8" func="var" arg="dir" op="equ" val="norm">
              <dgm:alg type="tx">
                <dgm:param type="parTxLTRAlign" val="l"/>
                <dgm:param type="parTxRTLAlign" val="l"/>
              </dgm:alg>
            </dgm:if>
            <dgm:else name="Name9">
              <dgm:alg type="tx">
                <dgm:param type="parTxLTRAlign" val="r"/>
                <dgm:param type="parTxRTLAlign" val="r"/>
              </dgm:alg>
            </dgm:else>
          </dgm:choose>
          <dgm:shape xmlns:r="http://schemas.openxmlformats.org/officeDocument/2006/relationships" type="roundRect" r:blip="">
            <dgm:adjLst/>
          </dgm:shape>
          <dgm:presOf axis="self" ptType="node"/>
          <dgm:constrLst>
            <dgm:constr type="tMarg"/>
            <dgm:constr type="bMarg"/>
          </dgm:constrLst>
          <dgm:ruleLst/>
        </dgm:layoutNode>
      </dgm:layoutNode>
      <dgm:layoutNode name="negativeSpace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childText" styleLbl="conFgAcc1">
        <dgm:varLst>
          <dgm:bulletEnabled val="1"/>
        </dgm:varLst>
        <dgm:alg type="tx">
          <dgm:param type="stBulletLvl" val="1"/>
        </dgm:alg>
        <dgm:shape xmlns:r="http://schemas.openxmlformats.org/officeDocument/2006/relationships" type="rect" r:blip="" zOrderOff="-2">
          <dgm:adjLst/>
        </dgm:shape>
        <dgm:presOf axis="des" ptType="node"/>
        <dgm:constrLst>
          <dgm:constr type="secFontSz" refType="primFontSz"/>
        </dgm:constrLst>
        <dgm:ruleLst>
          <dgm:rule type="h" val="INF" fact="NaN" max="NaN"/>
        </dgm:ruleLst>
      </dgm:layoutNode>
      <dgm:forEach name="Name10" axis="followSib" ptType="sibTrans" cnt="1">
        <dgm:layoutNode name="spaceBetweenRectangle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4">
  <dgm:title val=""/>
  <dgm:desc val=""/>
  <dgm:catLst>
    <dgm:cat type="simple" pri="104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NUL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C65DB725-3F53-423B-B263-9F51CF8FAAF6}" type="datetimeFigureOut">
              <a:rPr lang="en-US"/>
              <a:pPr>
                <a:defRPr/>
              </a:pPr>
              <a:t>10/11/20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54AC8908-A1FB-4505-B212-4B2A7EC61AD6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5024963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48158" y="3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72848AB1-372C-417D-B58B-3446A2DC6E62}" type="datetimeFigureOut">
              <a:rPr lang="en-US"/>
              <a:pPr>
                <a:defRPr/>
              </a:pPr>
              <a:t>10/11/20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711200" y="747713"/>
            <a:ext cx="5373688" cy="3721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9765" tIns="49881" rIns="99765" bIns="49881" rtlCol="0" anchor="ctr"/>
          <a:lstStyle/>
          <a:p>
            <a:pPr lvl="0"/>
            <a:endParaRPr lang="en-US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928" y="4719044"/>
            <a:ext cx="5434648" cy="44684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endParaRPr lang="it-IT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48158" y="9431740"/>
            <a:ext cx="2944758" cy="4980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6370" tIns="48186" rIns="96370" bIns="48186" numCol="1" anchor="b" anchorCtr="0" compatLnSpc="1">
            <a:prstTxWarp prst="textNoShape">
              <a:avLst/>
            </a:prstTxWarp>
          </a:bodyPr>
          <a:lstStyle>
            <a:lvl1pPr algn="r" defTabSz="897484">
              <a:defRPr sz="1300">
                <a:latin typeface="Calibri" pitchFamily="34" charset="0"/>
              </a:defRPr>
            </a:lvl1pPr>
          </a:lstStyle>
          <a:p>
            <a:pPr>
              <a:defRPr/>
            </a:pPr>
            <a:fld id="{B9DF5CB4-1F12-4B4C-891B-F676007582BC}" type="slidenum">
              <a:rPr lang="en-US"/>
              <a:pPr>
                <a:defRPr/>
              </a:pPr>
              <a:t>‹N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132292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789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37891" name="Rectangle 3"/>
          <p:cNvSpPr>
            <a:spLocks noGrp="1" noChangeArrowheads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pPr eaLnBrk="1" hangingPunct="1">
              <a:lnSpc>
                <a:spcPct val="90000"/>
              </a:lnSpc>
            </a:pPr>
            <a:endParaRPr lang="it-IT" sz="1000" dirty="0"/>
          </a:p>
        </p:txBody>
      </p:sp>
    </p:spTree>
    <p:extLst>
      <p:ext uri="{BB962C8B-B14F-4D97-AF65-F5344CB8AC3E}">
        <p14:creationId xmlns:p14="http://schemas.microsoft.com/office/powerpoint/2010/main" val="19844084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B9DF5CB4-1F12-4B4C-891B-F676007582BC}" type="slidenum">
              <a:rPr lang="en-US" smtClean="0"/>
              <a:pPr>
                <a:defRPr/>
              </a:pPr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8837681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1.bin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slideMaster" Target="../slideMasters/slideMaster1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58750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13896" name="think-cell Slide" r:id="rId7" imgW="0" imgH="0" progId="">
                  <p:embed/>
                </p:oleObj>
              </mc:Choice>
              <mc:Fallback>
                <p:oleObj name="think-cell Slide" r:id="rId7" imgW="0" imgH="0" progId="">
                  <p:embed/>
                  <p:pic>
                    <p:nvPicPr>
                      <p:cNvPr id="0" name="AutoShape 105"/>
                      <p:cNvPicPr>
                        <a:picLocks noChangeArrowheads="1"/>
                      </p:cNvPicPr>
                      <p:nvPr/>
                    </p:nvPicPr>
                    <p:blipFill>
                      <a:blip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158750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/>
          <p:cNvSpPr/>
          <p:nvPr userDrawn="1">
            <p:custDataLst>
              <p:tags r:id="rId3"/>
            </p:custDataLst>
          </p:nvPr>
        </p:nvSpPr>
        <p:spPr>
          <a:xfrm>
            <a:off x="200340" y="116540"/>
            <a:ext cx="9433310" cy="6718446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>
              <a:latin typeface="Optane" pitchFamily="2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  <p:custDataLst>
              <p:tags r:id="rId4"/>
            </p:custDataLst>
          </p:nvPr>
        </p:nvSpPr>
        <p:spPr>
          <a:xfrm>
            <a:off x="742950" y="2130436"/>
            <a:ext cx="8420100" cy="14700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  <p:custDataLst>
              <p:tags r:id="rId5"/>
            </p:custDataLst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altLang="zh-CN"/>
              <a:t>Click to edit Master subtitle style</a:t>
            </a:r>
            <a:endParaRPr lang="it-IT"/>
          </a:p>
        </p:txBody>
      </p:sp>
      <p:sp>
        <p:nvSpPr>
          <p:cNvPr id="6" name="Rectangle 9"/>
          <p:cNvSpPr>
            <a:spLocks noChangeArrowheads="1"/>
          </p:cNvSpPr>
          <p:nvPr userDrawn="1"/>
        </p:nvSpPr>
        <p:spPr bwMode="auto">
          <a:xfrm>
            <a:off x="3048468" y="476590"/>
            <a:ext cx="3766036" cy="3218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800" b="1" i="1" u="sng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BOZZA</a:t>
            </a:r>
            <a:r>
              <a:rPr lang="en-US" sz="1800" b="1" i="1" u="sng" baseline="0" dirty="0">
                <a:solidFill>
                  <a:schemeClr val="tx1">
                    <a:lumMod val="75000"/>
                    <a:lumOff val="25000"/>
                  </a:schemeClr>
                </a:solidFill>
                <a:latin typeface="Optane" pitchFamily="2" charset="0"/>
                <a:cs typeface="Arial" charset="0"/>
              </a:rPr>
              <a:t> PER DISCUSSIONE</a:t>
            </a:r>
            <a:endParaRPr lang="en-US" sz="1400" b="1" i="1" u="sng" dirty="0">
              <a:solidFill>
                <a:schemeClr val="tx1">
                  <a:lumMod val="75000"/>
                  <a:lumOff val="25000"/>
                </a:schemeClr>
              </a:solidFill>
              <a:latin typeface="Optane" pitchFamily="2" charset="0"/>
              <a:cs typeface="Arial" charset="0"/>
            </a:endParaRPr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7780337" y="274643"/>
            <a:ext cx="2414588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6578" y="274643"/>
            <a:ext cx="7078663" cy="5851525"/>
          </a:xfrm>
        </p:spPr>
        <p:txBody>
          <a:bodyPr vert="eaVert"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62860" y="0"/>
            <a:ext cx="3599688" cy="35996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834946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  <a:lvl2pPr>
              <a:defRPr>
                <a:latin typeface="Optane" pitchFamily="2" charset="0"/>
              </a:defRPr>
            </a:lvl2pPr>
            <a:lvl3pPr>
              <a:defRPr>
                <a:latin typeface="Optane" pitchFamily="2" charset="0"/>
              </a:defRPr>
            </a:lvl3pPr>
            <a:lvl4pPr>
              <a:defRPr>
                <a:latin typeface="Optane" pitchFamily="2" charset="0"/>
              </a:defRPr>
            </a:lvl4pPr>
            <a:lvl5pPr>
              <a:defRPr>
                <a:latin typeface="Optane" pitchFamily="2" charset="0"/>
              </a:defRPr>
            </a:lvl5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2506" y="4406911"/>
            <a:ext cx="8420100" cy="1362075"/>
          </a:xfrm>
        </p:spPr>
        <p:txBody>
          <a:bodyPr anchor="t"/>
          <a:lstStyle>
            <a:lvl1pPr algn="l">
              <a:defRPr sz="4000" b="1" cap="all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82506" y="2906713"/>
            <a:ext cx="84201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6575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448300" y="1600206"/>
            <a:ext cx="4746625" cy="4525963"/>
          </a:xfrm>
        </p:spPr>
        <p:txBody>
          <a:bodyPr/>
          <a:lstStyle>
            <a:lvl1pPr>
              <a:defRPr sz="2800">
                <a:latin typeface="Optane" pitchFamily="2" charset="0"/>
              </a:defRPr>
            </a:lvl1pPr>
            <a:lvl2pPr>
              <a:defRPr sz="2400">
                <a:latin typeface="Optane" pitchFamily="2" charset="0"/>
              </a:defRPr>
            </a:lvl2pPr>
            <a:lvl3pPr>
              <a:defRPr sz="2000">
                <a:latin typeface="Optane" pitchFamily="2" charset="0"/>
              </a:defRPr>
            </a:lvl3pPr>
            <a:lvl4pPr>
              <a:defRPr sz="1800">
                <a:latin typeface="Optane" pitchFamily="2" charset="0"/>
              </a:defRPr>
            </a:lvl4pPr>
            <a:lvl5pPr>
              <a:defRPr sz="1800">
                <a:latin typeface="Optane" pitchFamily="2" charset="0"/>
              </a:defRPr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87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87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5032115" y="1535113"/>
            <a:ext cx="4378590" cy="639762"/>
          </a:xfrm>
        </p:spPr>
        <p:txBody>
          <a:bodyPr anchor="b"/>
          <a:lstStyle>
            <a:lvl1pPr marL="0" indent="0">
              <a:buNone/>
              <a:defRPr sz="2400" b="1">
                <a:latin typeface="Optane" pitchFamily="2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032115" y="2174875"/>
            <a:ext cx="4378590" cy="3951288"/>
          </a:xfrm>
        </p:spPr>
        <p:txBody>
          <a:bodyPr/>
          <a:lstStyle>
            <a:lvl1pPr>
              <a:defRPr sz="2400">
                <a:latin typeface="Optane" pitchFamily="2" charset="0"/>
              </a:defRPr>
            </a:lvl1pPr>
            <a:lvl2pPr>
              <a:defRPr sz="2000">
                <a:latin typeface="Optane" pitchFamily="2" charset="0"/>
              </a:defRPr>
            </a:lvl2pPr>
            <a:lvl3pPr>
              <a:defRPr sz="1800">
                <a:latin typeface="Optane" pitchFamily="2" charset="0"/>
              </a:defRPr>
            </a:lvl3pPr>
            <a:lvl4pPr>
              <a:defRPr sz="1600">
                <a:latin typeface="Optane" pitchFamily="2" charset="0"/>
              </a:defRPr>
            </a:lvl4pPr>
            <a:lvl5pPr>
              <a:defRPr sz="1600">
                <a:latin typeface="Optane" pitchFamily="2" charset="0"/>
              </a:defRPr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7142332" y="6356361"/>
            <a:ext cx="2311400" cy="365125"/>
          </a:xfr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006" cy="1162050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72972" y="273056"/>
            <a:ext cx="5537729" cy="5853113"/>
          </a:xfrm>
        </p:spPr>
        <p:txBody>
          <a:bodyPr/>
          <a:lstStyle>
            <a:lvl1pPr>
              <a:defRPr sz="3200">
                <a:latin typeface="Optane" pitchFamily="2" charset="0"/>
              </a:defRPr>
            </a:lvl1pPr>
            <a:lvl2pPr>
              <a:defRPr sz="2800">
                <a:latin typeface="Optane" pitchFamily="2" charset="0"/>
              </a:defRPr>
            </a:lvl2pPr>
            <a:lvl3pPr>
              <a:defRPr sz="2400">
                <a:latin typeface="Optane" pitchFamily="2" charset="0"/>
              </a:defRPr>
            </a:lvl3pPr>
            <a:lvl4pPr>
              <a:defRPr sz="2000">
                <a:latin typeface="Optane" pitchFamily="2" charset="0"/>
              </a:defRPr>
            </a:lvl4pPr>
            <a:lvl5pPr>
              <a:defRPr sz="2000">
                <a:latin typeface="Optane" pitchFamily="2" charset="0"/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95300" y="1435103"/>
            <a:ext cx="3259006" cy="4691063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941645" y="4800600"/>
            <a:ext cx="5943600" cy="566738"/>
          </a:xfrm>
        </p:spPr>
        <p:txBody>
          <a:bodyPr anchor="b"/>
          <a:lstStyle>
            <a:lvl1pPr algn="l">
              <a:defRPr sz="2000" b="1">
                <a:latin typeface="Optane" pitchFamily="2" charset="0"/>
              </a:defRPr>
            </a:lvl1pPr>
          </a:lstStyle>
          <a:p>
            <a:r>
              <a:rPr lang="en-US" altLang="zh-CN"/>
              <a:t>Click to edit Master title style</a:t>
            </a:r>
            <a:endParaRPr lang="it-IT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941645" y="612775"/>
            <a:ext cx="5943600" cy="4114800"/>
          </a:xfrm>
        </p:spPr>
        <p:txBody>
          <a:bodyPr/>
          <a:lstStyle>
            <a:lvl1pPr marL="0" indent="0">
              <a:buNone/>
              <a:defRPr sz="3200">
                <a:latin typeface="Optane" pitchFamily="2" charset="0"/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altLang="zh-CN"/>
              <a:t>Click icon to add picture</a:t>
            </a:r>
            <a:endParaRPr lang="it-IT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941645" y="5367338"/>
            <a:ext cx="5943600" cy="804862"/>
          </a:xfrm>
        </p:spPr>
        <p:txBody>
          <a:bodyPr/>
          <a:lstStyle>
            <a:lvl1pPr marL="0" indent="0">
              <a:buNone/>
              <a:defRPr sz="1400">
                <a:latin typeface="Optane" pitchFamily="2" charset="0"/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altLang="zh-CN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>
          <a:xfrm>
            <a:off x="3384550" y="6356361"/>
            <a:ext cx="3136900" cy="365125"/>
          </a:xfrm>
          <a:prstGeom prst="rect">
            <a:avLst/>
          </a:prstGeom>
        </p:spPr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r>
              <a:rPr lang="it-IT" dirty="0"/>
              <a:t>EY_IDEA MANAGEMENT_V0.5.PPTX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image" Target="../media/image1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14178" name="Picture 2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455525" y="0"/>
            <a:ext cx="908650" cy="9086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344364" y="80970"/>
            <a:ext cx="9066340" cy="64809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altLang="zh-CN"/>
              <a:t>Click to edit Master title style</a:t>
            </a:r>
            <a:endParaRPr lang="it-IT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16370" y="980661"/>
            <a:ext cx="8994330" cy="5145506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altLang="zh-CN"/>
              <a:t>Click to edit Master text styles</a:t>
            </a:r>
          </a:p>
          <a:p>
            <a:pPr lvl="1"/>
            <a:r>
              <a:rPr lang="en-US" altLang="zh-CN"/>
              <a:t>Second level</a:t>
            </a:r>
          </a:p>
          <a:p>
            <a:pPr lvl="2"/>
            <a:r>
              <a:rPr lang="en-US" altLang="zh-CN"/>
              <a:t>Third level</a:t>
            </a:r>
          </a:p>
          <a:p>
            <a:pPr lvl="3"/>
            <a:r>
              <a:rPr lang="en-US" altLang="zh-CN"/>
              <a:t>Fourth level</a:t>
            </a:r>
          </a:p>
          <a:p>
            <a:pPr lvl="4"/>
            <a:r>
              <a:rPr lang="en-US" altLang="zh-CN"/>
              <a:t>Fifth level</a:t>
            </a:r>
            <a:endParaRPr lang="it-IT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95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04800856-2FB0-4830-8C60-1A6F6FE5BDA0}" type="datetimeFigureOut">
              <a:rPr lang="it-IT" smtClean="0"/>
              <a:pPr/>
              <a:t>11/10/2018</a:t>
            </a:fld>
            <a:endParaRPr lang="it-IT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099300" y="6356361"/>
            <a:ext cx="2311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Optane" pitchFamily="2" charset="0"/>
              </a:defRPr>
            </a:lvl1pPr>
          </a:lstStyle>
          <a:p>
            <a:fld id="{48D807C0-2D41-4638-AE7B-EAF76F0B0F71}" type="slidenum">
              <a:rPr lang="it-IT" smtClean="0"/>
              <a:pPr/>
              <a:t>‹N›</a:t>
            </a:fld>
            <a:endParaRPr lang="it-IT" dirty="0"/>
          </a:p>
        </p:txBody>
      </p:sp>
      <p:cxnSp>
        <p:nvCxnSpPr>
          <p:cNvPr id="7" name="Straight Connector 6"/>
          <p:cNvCxnSpPr/>
          <p:nvPr/>
        </p:nvCxnSpPr>
        <p:spPr>
          <a:xfrm>
            <a:off x="344360" y="6381410"/>
            <a:ext cx="9217280" cy="0"/>
          </a:xfrm>
          <a:prstGeom prst="line">
            <a:avLst/>
          </a:prstGeom>
          <a:ln w="12700">
            <a:solidFill>
              <a:srgbClr val="C00000"/>
            </a:solidFill>
          </a:ln>
        </p:spPr>
        <p:style>
          <a:lnRef idx="1">
            <a:schemeClr val="accent2"/>
          </a:lnRef>
          <a:fillRef idx="0">
            <a:schemeClr val="accent2"/>
          </a:fillRef>
          <a:effectRef idx="0">
            <a:schemeClr val="accent2"/>
          </a:effectRef>
          <a:fontRef idx="minor">
            <a:schemeClr val="tx1"/>
          </a:fontRef>
        </p:style>
      </p:cxnSp>
      <p:sp>
        <p:nvSpPr>
          <p:cNvPr id="8" name="Line 10"/>
          <p:cNvSpPr>
            <a:spLocks noChangeShapeType="1"/>
          </p:cNvSpPr>
          <p:nvPr/>
        </p:nvSpPr>
        <p:spPr bwMode="auto">
          <a:xfrm>
            <a:off x="344364" y="908650"/>
            <a:ext cx="9201590" cy="0"/>
          </a:xfrm>
          <a:prstGeom prst="line">
            <a:avLst/>
          </a:prstGeom>
          <a:noFill/>
          <a:ln w="19050">
            <a:solidFill>
              <a:schemeClr val="tx2">
                <a:lumMod val="40000"/>
                <a:lumOff val="60000"/>
              </a:schemeClr>
            </a:solidFill>
            <a:round/>
            <a:headEnd/>
            <a:tailEnd/>
          </a:ln>
          <a:effectLst/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dirty="0">
              <a:solidFill>
                <a:srgbClr val="646464"/>
              </a:solidFill>
              <a:latin typeface="Optane" pitchFamily="2" charset="0"/>
            </a:endParaRPr>
          </a:p>
        </p:txBody>
      </p:sp>
      <p:sp>
        <p:nvSpPr>
          <p:cNvPr id="35" name="Rectangle 9"/>
          <p:cNvSpPr>
            <a:spLocks noChangeArrowheads="1"/>
          </p:cNvSpPr>
          <p:nvPr/>
        </p:nvSpPr>
        <p:spPr bwMode="auto">
          <a:xfrm>
            <a:off x="339635" y="6530579"/>
            <a:ext cx="663575" cy="196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en-US" sz="1100" dirty="0">
                <a:solidFill>
                  <a:srgbClr val="000000"/>
                </a:solidFill>
                <a:latin typeface="Optane" pitchFamily="2" charset="0"/>
                <a:cs typeface="Arial" charset="0"/>
              </a:rPr>
              <a:t>Page </a:t>
            </a:r>
            <a:fld id="{176C9665-13A1-4E4A-84AC-67452C24411B}" type="slidenum">
              <a:rPr lang="en-US" sz="1100" smtClean="0">
                <a:solidFill>
                  <a:srgbClr val="000000"/>
                </a:solidFill>
                <a:latin typeface="Optane" pitchFamily="2" charset="0"/>
                <a:cs typeface="Arial" charset="0"/>
              </a:rPr>
              <a:pPr fontAlgn="base">
                <a:spcBef>
                  <a:spcPct val="0"/>
                </a:spcBef>
                <a:spcAft>
                  <a:spcPct val="0"/>
                </a:spcAft>
              </a:pPr>
              <a:t>‹N›</a:t>
            </a:fld>
            <a:endParaRPr lang="en-US" sz="1100" dirty="0">
              <a:solidFill>
                <a:srgbClr val="000000"/>
              </a:solidFill>
              <a:latin typeface="Optane" pitchFamily="2" charset="0"/>
              <a:cs typeface="Arial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72" r:id="rId2"/>
    <p:sldLayoutId id="2147483673" r:id="rId3"/>
    <p:sldLayoutId id="2147483674" r:id="rId4"/>
    <p:sldLayoutId id="2147483675" r:id="rId5"/>
    <p:sldLayoutId id="2147483676" r:id="rId6"/>
    <p:sldLayoutId id="2147483677" r:id="rId7"/>
    <p:sldLayoutId id="2147483678" r:id="rId8"/>
    <p:sldLayoutId id="2147483679" r:id="rId9"/>
    <p:sldLayoutId id="2147483680" r:id="rId10"/>
    <p:sldLayoutId id="2147483681" r:id="rId11"/>
    <p:sldLayoutId id="2147483682" r:id="rId12"/>
  </p:sldLayoutIdLst>
  <p:txStyles>
    <p:titleStyle>
      <a:lvl1pPr algn="l" defTabSz="914400" rtl="0" eaLnBrk="1" latinLnBrk="0" hangingPunct="1">
        <a:spcBef>
          <a:spcPct val="0"/>
        </a:spcBef>
        <a:buNone/>
        <a:defRPr sz="2000" b="1" kern="1200">
          <a:solidFill>
            <a:schemeClr val="tx1"/>
          </a:solidFill>
          <a:latin typeface="Optane" pitchFamily="2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Clr>
          <a:srgbClr val="FFC000"/>
        </a:buClr>
        <a:buSzPct val="75000"/>
        <a:buFont typeface="Arial" pitchFamily="34" charset="0"/>
        <a:buChar char="►"/>
        <a:defRPr sz="3200" kern="1200">
          <a:solidFill>
            <a:schemeClr val="tx1"/>
          </a:solidFill>
          <a:latin typeface="Optane" pitchFamily="2" charset="0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800" kern="1200">
          <a:solidFill>
            <a:schemeClr val="tx1"/>
          </a:solidFill>
          <a:latin typeface="Optane" pitchFamily="2" charset="0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•"/>
        <a:defRPr sz="2400" kern="1200">
          <a:solidFill>
            <a:schemeClr val="tx1"/>
          </a:solidFill>
          <a:latin typeface="Optane" pitchFamily="2" charset="0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–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Clr>
          <a:srgbClr val="FFC000"/>
        </a:buClr>
        <a:buFont typeface="Arial" pitchFamily="34" charset="0"/>
        <a:buChar char="»"/>
        <a:defRPr sz="2000" kern="1200">
          <a:solidFill>
            <a:schemeClr val="tx1"/>
          </a:solidFill>
          <a:latin typeface="Optane" pitchFamily="2" charset="0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it-IT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gif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2.xml"/><Relationship Id="rId4" Type="http://schemas.openxmlformats.org/officeDocument/2006/relationships/image" Target="../media/image5.gif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2.xml"/><Relationship Id="rId2" Type="http://schemas.openxmlformats.org/officeDocument/2006/relationships/diagramData" Target="../diagrams/data2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2.xml"/><Relationship Id="rId5" Type="http://schemas.openxmlformats.org/officeDocument/2006/relationships/diagramColors" Target="../diagrams/colors2.xml"/><Relationship Id="rId4" Type="http://schemas.openxmlformats.org/officeDocument/2006/relationships/diagramQuickStyle" Target="../diagrams/quickStyle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Rectangle 5"/>
          <p:cNvSpPr txBox="1">
            <a:spLocks noChangeArrowheads="1"/>
          </p:cNvSpPr>
          <p:nvPr/>
        </p:nvSpPr>
        <p:spPr>
          <a:xfrm>
            <a:off x="560512" y="3717032"/>
            <a:ext cx="9001249" cy="2831544"/>
          </a:xfrm>
          <a:prstGeom prst="rect">
            <a:avLst/>
          </a:prstGeom>
        </p:spPr>
        <p:txBody>
          <a:bodyPr wrap="square" lIns="36000" tIns="0" rIns="36000" bIns="0">
            <a:spAutoFit/>
          </a:bodyPr>
          <a:lstStyle/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3600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Active Labour Market Policies</a:t>
            </a:r>
            <a:endParaRPr lang="en-GB" sz="3600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Marinella COLUCCI</a:t>
            </a:r>
          </a:p>
          <a:p>
            <a:pPr algn="ctr" defTabSz="457200" eaLnBrk="0" hangingPunct="0">
              <a:buClr>
                <a:srgbClr val="FFC000"/>
              </a:buClr>
              <a:buSzPct val="85000"/>
              <a:defRPr/>
            </a:pPr>
            <a:r>
              <a:rPr lang="en-GB" sz="2000" b="1" dirty="0" smtClean="0">
                <a:latin typeface="Arial" panose="020B0604020202020204" pitchFamily="34" charset="0"/>
                <a:ea typeface="Arial Unicode MS" panose="020B0604020202020204" pitchFamily="34" charset="-122"/>
                <a:cs typeface="Arial" panose="020B0604020202020204" pitchFamily="34" charset="0"/>
              </a:rPr>
              <a:t>ANPAL</a:t>
            </a:r>
            <a:endParaRPr lang="en-GB" sz="2000" b="1" dirty="0">
              <a:latin typeface="Arial" panose="020B0604020202020204" pitchFamily="34" charset="0"/>
              <a:ea typeface="Arial Unicode MS" panose="020B0604020202020204" pitchFamily="34" charset="-122"/>
              <a:cs typeface="Arial" panose="020B0604020202020204" pitchFamily="34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en-GB" sz="3200" b="1" dirty="0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defTabSz="457200" eaLnBrk="0" fontAlgn="auto" hangingPunct="0">
              <a:spcBef>
                <a:spcPts val="0"/>
              </a:spcBef>
              <a:spcAft>
                <a:spcPts val="1200"/>
              </a:spcAft>
              <a:buClr>
                <a:srgbClr val="FFC000"/>
              </a:buClr>
              <a:buSzPct val="85000"/>
              <a:defRPr/>
            </a:pPr>
            <a:endParaRPr lang="it-IT" sz="800" b="1" noProof="1">
              <a:solidFill>
                <a:schemeClr val="tx1">
                  <a:lumMod val="85000"/>
                  <a:lumOff val="15000"/>
                </a:schemeClr>
              </a:solidFill>
              <a:latin typeface="Optane" pitchFamily="2" charset="0"/>
            </a:endParaRPr>
          </a:p>
          <a:p>
            <a:pPr algn="ctr" eaLnBrk="0" hangingPunct="0"/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Component </a:t>
            </a:r>
            <a:r>
              <a:rPr lang="en-US" altLang="zh-CN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One- </a:t>
            </a:r>
            <a:r>
              <a:rPr lang="en-US" altLang="zh-CN" sz="1400" dirty="0">
                <a:latin typeface="Arial" panose="020B0604020202020204" pitchFamily="34" charset="0"/>
                <a:ea typeface="宋体" panose="02010600030101010101" pitchFamily="2" charset="-122"/>
              </a:rPr>
              <a:t>2018 Training </a:t>
            </a:r>
            <a:r>
              <a:rPr lang="en-US" altLang="zh-CN" sz="1400" dirty="0" smtClean="0">
                <a:latin typeface="Arial" panose="020B0604020202020204" pitchFamily="34" charset="0"/>
                <a:ea typeface="宋体" panose="02010600030101010101" pitchFamily="2" charset="-122"/>
              </a:rPr>
              <a:t>Course</a:t>
            </a:r>
            <a:endParaRPr lang="en-US" altLang="zh-CN" sz="4400" dirty="0">
              <a:cs typeface="Arial" panose="020B0604020202020204" pitchFamily="34" charset="0"/>
            </a:endParaRPr>
          </a:p>
          <a:p>
            <a:pPr algn="ctr"/>
            <a:r>
              <a:rPr lang="en-US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Rome, 18</a:t>
            </a:r>
            <a:r>
              <a:rPr lang="en-US" altLang="zh-CN" sz="1400" b="1" baseline="30000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th</a:t>
            </a:r>
            <a:r>
              <a:rPr lang="en-US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it-IT" altLang="zh-CN" sz="1400" b="1" dirty="0" err="1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October</a:t>
            </a:r>
            <a:r>
              <a:rPr lang="it-IT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 </a:t>
            </a:r>
            <a:r>
              <a:rPr lang="pl-PL" altLang="zh-CN" sz="1400" b="1" dirty="0" smtClean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201</a:t>
            </a:r>
            <a:r>
              <a:rPr lang="it-IT" altLang="zh-CN" sz="1400" b="1" dirty="0">
                <a:latin typeface="Arial" panose="020B0604020202020204" pitchFamily="34" charset="0"/>
                <a:ea typeface="宋体" panose="02010600030101010101" pitchFamily="2" charset="-122"/>
                <a:cs typeface="Arial" panose="020B0604020202020204" pitchFamily="34" charset="0"/>
              </a:rPr>
              <a:t>8</a:t>
            </a:r>
            <a:endParaRPr lang="pl-PL" altLang="zh-CN" sz="1400" b="1" dirty="0">
              <a:latin typeface="Arial" panose="020B0604020202020204" pitchFamily="34" charset="0"/>
              <a:ea typeface="宋体" panose="02010600030101010101" pitchFamily="2" charset="-122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17248471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 smtClean="0"/>
              <a:t>Main issues for the </a:t>
            </a:r>
            <a:r>
              <a:rPr lang="en-GB" dirty="0"/>
              <a:t>introduction of common tools</a:t>
            </a:r>
            <a:endParaRPr lang="it-IT" dirty="0"/>
          </a:p>
        </p:txBody>
      </p:sp>
      <p:pic>
        <p:nvPicPr>
          <p:cNvPr id="4" name="Segnaposto contenuto 3"/>
          <p:cNvPicPr>
            <a:picLocks noGrp="1" noChangeAspect="1"/>
          </p:cNvPicPr>
          <p:nvPr>
            <p:ph idx="1"/>
          </p:nvPr>
        </p:nvPicPr>
        <p:blipFill>
          <a:blip r:embed="rId2"/>
          <a:stretch>
            <a:fillRect/>
          </a:stretch>
        </p:blipFill>
        <p:spPr>
          <a:xfrm>
            <a:off x="945707" y="1873620"/>
            <a:ext cx="7797460" cy="3405807"/>
          </a:xfrm>
          <a:prstGeom prst="rect">
            <a:avLst/>
          </a:prstGeom>
        </p:spPr>
      </p:pic>
      <p:pic>
        <p:nvPicPr>
          <p:cNvPr id="5" name="Immagine 4" descr="6280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61312" y="1855613"/>
            <a:ext cx="792088" cy="586732"/>
          </a:xfrm>
          <a:prstGeom prst="rect">
            <a:avLst/>
          </a:prstGeom>
        </p:spPr>
      </p:pic>
      <p:pic>
        <p:nvPicPr>
          <p:cNvPr id="6" name="Immagine 5" descr="6280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73493" y="2466854"/>
            <a:ext cx="792088" cy="586732"/>
          </a:xfrm>
          <a:prstGeom prst="rect">
            <a:avLst/>
          </a:prstGeom>
        </p:spPr>
      </p:pic>
      <p:pic>
        <p:nvPicPr>
          <p:cNvPr id="7" name="Immagine 6" descr="6280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3849" y="2982166"/>
            <a:ext cx="792088" cy="586732"/>
          </a:xfrm>
          <a:prstGeom prst="rect">
            <a:avLst/>
          </a:prstGeom>
        </p:spPr>
      </p:pic>
      <p:pic>
        <p:nvPicPr>
          <p:cNvPr id="8" name="Immagine 7" descr="6280.gif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93849" y="4068931"/>
            <a:ext cx="792088" cy="586732"/>
          </a:xfrm>
          <a:prstGeom prst="rect">
            <a:avLst/>
          </a:prstGeom>
        </p:spPr>
      </p:pic>
      <p:pic>
        <p:nvPicPr>
          <p:cNvPr id="9" name="Immagine 8" descr="under_construction_hammer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22853" y="3434721"/>
            <a:ext cx="1112145" cy="661034"/>
          </a:xfrm>
          <a:prstGeom prst="rect">
            <a:avLst/>
          </a:prstGeom>
        </p:spPr>
      </p:pic>
      <p:pic>
        <p:nvPicPr>
          <p:cNvPr id="10" name="Immagine 9" descr="under_construction_hammer.gif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01283" y="4441412"/>
            <a:ext cx="1112145" cy="66103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30313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err="1" smtClean="0"/>
              <a:t>Ongoing</a:t>
            </a:r>
            <a:r>
              <a:rPr lang="it-IT" dirty="0" smtClean="0"/>
              <a:t> </a:t>
            </a:r>
            <a:r>
              <a:rPr lang="it-IT" dirty="0" err="1" smtClean="0"/>
              <a:t>activities</a:t>
            </a:r>
            <a:r>
              <a:rPr lang="it-IT" dirty="0" smtClean="0"/>
              <a:t> and </a:t>
            </a:r>
            <a:r>
              <a:rPr lang="it-IT" dirty="0" err="1" smtClean="0"/>
              <a:t>next</a:t>
            </a:r>
            <a:r>
              <a:rPr lang="it-IT" dirty="0" smtClean="0"/>
              <a:t> </a:t>
            </a:r>
            <a:r>
              <a:rPr lang="it-IT" dirty="0" err="1" smtClean="0"/>
              <a:t>steps</a:t>
            </a:r>
            <a:r>
              <a:rPr lang="it-IT" dirty="0" smtClean="0"/>
              <a:t>…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 sz="2000" dirty="0" smtClean="0"/>
          </a:p>
          <a:p>
            <a:endParaRPr lang="it-IT" sz="2000" dirty="0"/>
          </a:p>
          <a:p>
            <a:r>
              <a:rPr lang="it-IT" sz="2000" dirty="0" err="1" smtClean="0"/>
              <a:t>Benchlearning</a:t>
            </a:r>
            <a:r>
              <a:rPr lang="it-IT" sz="2000" dirty="0" smtClean="0"/>
              <a:t> </a:t>
            </a:r>
            <a:r>
              <a:rPr lang="it-IT" sz="2000" dirty="0" err="1" smtClean="0"/>
              <a:t>activites</a:t>
            </a:r>
            <a:r>
              <a:rPr lang="it-IT" sz="2000" dirty="0" smtClean="0"/>
              <a:t> with </a:t>
            </a:r>
            <a:r>
              <a:rPr lang="it-IT" sz="2000" dirty="0" err="1" smtClean="0"/>
              <a:t>regions</a:t>
            </a:r>
            <a:r>
              <a:rPr lang="it-IT" sz="2000" dirty="0" smtClean="0"/>
              <a:t>/</a:t>
            </a:r>
            <a:r>
              <a:rPr lang="it-IT" sz="2000" dirty="0" err="1" smtClean="0"/>
              <a:t>local</a:t>
            </a:r>
            <a:r>
              <a:rPr lang="it-IT" sz="2000" dirty="0" smtClean="0"/>
              <a:t> PES</a:t>
            </a:r>
          </a:p>
          <a:p>
            <a:r>
              <a:rPr lang="it-IT" sz="2000" dirty="0" smtClean="0"/>
              <a:t>National </a:t>
            </a:r>
            <a:r>
              <a:rPr lang="it-IT" sz="2000" dirty="0" err="1" smtClean="0"/>
              <a:t>strategy</a:t>
            </a:r>
            <a:r>
              <a:rPr lang="it-IT" sz="2000" dirty="0" smtClean="0"/>
              <a:t> of PES for </a:t>
            </a:r>
            <a:r>
              <a:rPr lang="it-IT" sz="2000" dirty="0" err="1" smtClean="0"/>
              <a:t>employers</a:t>
            </a:r>
            <a:endParaRPr lang="it-IT" sz="2000" dirty="0" smtClean="0"/>
          </a:p>
          <a:p>
            <a:r>
              <a:rPr lang="it-IT" sz="2000" dirty="0" smtClean="0"/>
              <a:t>National </a:t>
            </a:r>
            <a:r>
              <a:rPr lang="it-IT" sz="2000" dirty="0" err="1" smtClean="0"/>
              <a:t>strategy</a:t>
            </a:r>
            <a:r>
              <a:rPr lang="it-IT" sz="2000" dirty="0" smtClean="0"/>
              <a:t> for LTU</a:t>
            </a:r>
          </a:p>
          <a:p>
            <a:r>
              <a:rPr lang="it-IT" sz="2000" dirty="0" smtClean="0"/>
              <a:t>IT </a:t>
            </a:r>
            <a:r>
              <a:rPr lang="it-IT" sz="2000" dirty="0" err="1" smtClean="0"/>
              <a:t>unified</a:t>
            </a:r>
            <a:r>
              <a:rPr lang="it-IT" sz="2000" dirty="0" smtClean="0"/>
              <a:t> </a:t>
            </a:r>
            <a:r>
              <a:rPr lang="it-IT" sz="2000" dirty="0" err="1" smtClean="0"/>
              <a:t>system</a:t>
            </a:r>
            <a:endParaRPr lang="it-IT" sz="2000" dirty="0" smtClean="0"/>
          </a:p>
          <a:p>
            <a:r>
              <a:rPr lang="it-IT" sz="2000" dirty="0" smtClean="0"/>
              <a:t>Evaluation of the </a:t>
            </a:r>
            <a:r>
              <a:rPr lang="it-IT" sz="2000" dirty="0" err="1" smtClean="0"/>
              <a:t>pilot</a:t>
            </a:r>
            <a:r>
              <a:rPr lang="it-IT" sz="2000" dirty="0" smtClean="0"/>
              <a:t> </a:t>
            </a:r>
            <a:r>
              <a:rPr lang="it-IT" sz="2000" dirty="0" err="1" smtClean="0"/>
              <a:t>project</a:t>
            </a:r>
            <a:r>
              <a:rPr lang="it-IT" sz="2000" dirty="0" smtClean="0"/>
              <a:t> of PIAAC on-line </a:t>
            </a:r>
            <a:r>
              <a:rPr lang="it-IT" sz="2000" dirty="0" err="1" smtClean="0"/>
              <a:t>tool</a:t>
            </a:r>
            <a:endParaRPr lang="it-IT" sz="2000" dirty="0" smtClean="0"/>
          </a:p>
          <a:p>
            <a:r>
              <a:rPr lang="it-IT" sz="2000" dirty="0" err="1" smtClean="0"/>
              <a:t>Conditionality</a:t>
            </a:r>
            <a:r>
              <a:rPr lang="it-IT" sz="2000" dirty="0" smtClean="0"/>
              <a:t> </a:t>
            </a:r>
            <a:r>
              <a:rPr lang="it-IT" sz="2000" dirty="0" err="1" smtClean="0"/>
              <a:t>mechanisms</a:t>
            </a:r>
            <a:endParaRPr lang="it-IT" sz="2000" dirty="0" smtClean="0"/>
          </a:p>
          <a:p>
            <a:r>
              <a:rPr lang="it-IT" sz="2000" dirty="0" err="1" smtClean="0"/>
              <a:t>Implementation</a:t>
            </a:r>
            <a:r>
              <a:rPr lang="it-IT" sz="2000" dirty="0" smtClean="0"/>
              <a:t> of a training </a:t>
            </a:r>
            <a:r>
              <a:rPr lang="it-IT" sz="2000" dirty="0" err="1" smtClean="0"/>
              <a:t>program</a:t>
            </a:r>
            <a:r>
              <a:rPr lang="it-IT" sz="2000" dirty="0" smtClean="0"/>
              <a:t> for PES staff (in </a:t>
            </a:r>
            <a:r>
              <a:rPr lang="it-IT" sz="2000" dirty="0" err="1" smtClean="0"/>
              <a:t>accordance</a:t>
            </a:r>
            <a:r>
              <a:rPr lang="it-IT" sz="2000" dirty="0" smtClean="0"/>
              <a:t> with ANPAL Servizi)</a:t>
            </a:r>
          </a:p>
          <a:p>
            <a:r>
              <a:rPr lang="it-IT" sz="2000" dirty="0" smtClean="0"/>
              <a:t>Youth </a:t>
            </a:r>
            <a:r>
              <a:rPr lang="it-IT" sz="2000" dirty="0" err="1"/>
              <a:t>G</a:t>
            </a:r>
            <a:r>
              <a:rPr lang="it-IT" sz="2000" dirty="0" err="1" smtClean="0"/>
              <a:t>uarantee</a:t>
            </a:r>
            <a:r>
              <a:rPr lang="it-IT" sz="2000" dirty="0" smtClean="0"/>
              <a:t> </a:t>
            </a:r>
            <a:r>
              <a:rPr lang="it-IT" sz="2000" dirty="0" err="1" smtClean="0"/>
              <a:t>phase</a:t>
            </a:r>
            <a:r>
              <a:rPr lang="it-IT" sz="2000" dirty="0" smtClean="0"/>
              <a:t> 2</a:t>
            </a:r>
          </a:p>
          <a:p>
            <a:r>
              <a:rPr lang="it-IT" sz="2000" dirty="0" smtClean="0"/>
              <a:t>Re-</a:t>
            </a:r>
            <a:r>
              <a:rPr lang="it-IT" sz="2000" dirty="0" err="1" smtClean="0"/>
              <a:t>placement</a:t>
            </a:r>
            <a:r>
              <a:rPr lang="it-IT" sz="2000" dirty="0" smtClean="0"/>
              <a:t> voucher for </a:t>
            </a:r>
            <a:r>
              <a:rPr lang="it-IT" sz="2000" dirty="0" err="1" smtClean="0"/>
              <a:t>beneficiaries</a:t>
            </a:r>
            <a:r>
              <a:rPr lang="it-IT" sz="2000" dirty="0" smtClean="0"/>
              <a:t> of social shock </a:t>
            </a:r>
            <a:r>
              <a:rPr lang="it-IT" sz="2000" dirty="0" err="1" smtClean="0"/>
              <a:t>absorbers</a:t>
            </a:r>
            <a:r>
              <a:rPr lang="it-IT" sz="2000" dirty="0" smtClean="0"/>
              <a:t> (CIGS)</a:t>
            </a:r>
          </a:p>
          <a:p>
            <a:endParaRPr lang="it-IT" sz="2000" dirty="0" smtClean="0"/>
          </a:p>
          <a:p>
            <a:endParaRPr lang="it-IT" sz="2000" dirty="0" smtClean="0"/>
          </a:p>
          <a:p>
            <a:endParaRPr lang="it-IT" sz="2000" dirty="0" smtClean="0"/>
          </a:p>
          <a:p>
            <a:endParaRPr lang="it-IT" sz="2000" dirty="0" smtClean="0"/>
          </a:p>
          <a:p>
            <a:endParaRPr lang="it-IT" sz="2000" dirty="0" smtClean="0"/>
          </a:p>
          <a:p>
            <a:endParaRPr lang="it-IT" sz="2000" dirty="0" smtClean="0"/>
          </a:p>
          <a:p>
            <a:endParaRPr lang="it-IT" sz="2000" dirty="0"/>
          </a:p>
        </p:txBody>
      </p:sp>
    </p:spTree>
    <p:extLst>
      <p:ext uri="{BB962C8B-B14F-4D97-AF65-F5344CB8AC3E}">
        <p14:creationId xmlns:p14="http://schemas.microsoft.com/office/powerpoint/2010/main" val="74442495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 txBox="1">
            <a:spLocks/>
          </p:cNvSpPr>
          <p:nvPr/>
        </p:nvSpPr>
        <p:spPr>
          <a:xfrm>
            <a:off x="344364" y="175566"/>
            <a:ext cx="6912956" cy="648090"/>
          </a:xfrm>
          <a:prstGeom prst="rect">
            <a:avLst/>
          </a:prstGeom>
        </p:spPr>
        <p:txBody>
          <a:bodyPr vert="horz" lIns="91440" tIns="45720" rIns="91440" bIns="45720" rtlCol="0" anchor="t">
            <a:noAutofit/>
          </a:bodyPr>
          <a:lstStyle>
            <a:defPPr>
              <a:defRPr lang="en-US"/>
            </a:defPPr>
            <a:lvl1pPr lvl="0" defTabSz="914400" eaLnBrk="1" latinLnBrk="0" hangingPunct="1">
              <a:buNone/>
              <a:defRPr sz="2400" b="1">
                <a:solidFill>
                  <a:schemeClr val="tx1">
                    <a:lumMod val="85000"/>
                    <a:lumOff val="15000"/>
                  </a:schemeClr>
                </a:solidFill>
                <a:latin typeface="Optane" pitchFamily="2" charset="0"/>
                <a:ea typeface="+mj-ea"/>
                <a:cs typeface="+mj-cs"/>
              </a:defRPr>
            </a:lvl1pPr>
          </a:lstStyle>
          <a:p>
            <a:r>
              <a:rPr lang="it-IT" dirty="0" smtClean="0"/>
              <a:t>An </a:t>
            </a:r>
            <a:r>
              <a:rPr lang="it-IT" dirty="0" err="1" smtClean="0"/>
              <a:t>overview</a:t>
            </a:r>
            <a:r>
              <a:rPr lang="it-IT" dirty="0" smtClean="0"/>
              <a:t> to the </a:t>
            </a:r>
            <a:r>
              <a:rPr lang="it-IT" dirty="0" err="1" smtClean="0"/>
              <a:t>ALMPs</a:t>
            </a:r>
            <a:r>
              <a:rPr lang="it-IT" dirty="0" smtClean="0"/>
              <a:t> System</a:t>
            </a:r>
            <a:endParaRPr lang="it-IT" dirty="0"/>
          </a:p>
        </p:txBody>
      </p:sp>
      <p:graphicFrame>
        <p:nvGraphicFramePr>
          <p:cNvPr id="3" name="Segnaposto contenuto 4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6697916"/>
              </p:ext>
            </p:extLst>
          </p:nvPr>
        </p:nvGraphicFramePr>
        <p:xfrm>
          <a:off x="457200" y="1200150"/>
          <a:ext cx="7715200" cy="3655314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3130094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Youth </a:t>
            </a:r>
            <a:r>
              <a:rPr lang="it-IT" dirty="0" err="1" smtClean="0"/>
              <a:t>Guarantee</a:t>
            </a:r>
            <a:r>
              <a:rPr lang="it-IT" dirty="0" smtClean="0"/>
              <a:t> </a:t>
            </a:r>
            <a:r>
              <a:rPr lang="it-IT" dirty="0" err="1" smtClean="0"/>
              <a:t>as</a:t>
            </a:r>
            <a:r>
              <a:rPr lang="it-IT" dirty="0" smtClean="0"/>
              <a:t> an </a:t>
            </a:r>
            <a:r>
              <a:rPr lang="it-IT" dirty="0" err="1" smtClean="0"/>
              <a:t>experimental</a:t>
            </a:r>
            <a:r>
              <a:rPr lang="it-IT" dirty="0" smtClean="0"/>
              <a:t> </a:t>
            </a:r>
            <a:r>
              <a:rPr lang="it-IT" dirty="0" err="1" smtClean="0"/>
              <a:t>laboratory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/>
          </a:bodyPr>
          <a:lstStyle/>
          <a:p>
            <a:r>
              <a:rPr lang="it-IT" sz="2000" dirty="0" smtClean="0"/>
              <a:t>Quantitative </a:t>
            </a:r>
            <a:r>
              <a:rPr lang="it-IT" sz="2000" dirty="0" err="1" smtClean="0"/>
              <a:t>profiling</a:t>
            </a:r>
            <a:endParaRPr lang="it-IT" sz="2000" dirty="0"/>
          </a:p>
          <a:p>
            <a:r>
              <a:rPr lang="it-IT" sz="2000" dirty="0"/>
              <a:t>Standard </a:t>
            </a:r>
            <a:r>
              <a:rPr lang="it-IT" sz="2000" dirty="0" smtClean="0"/>
              <a:t>of </a:t>
            </a:r>
            <a:r>
              <a:rPr lang="it-IT" sz="2000" dirty="0" err="1" smtClean="0"/>
              <a:t>services</a:t>
            </a:r>
            <a:endParaRPr lang="it-IT" sz="2000" dirty="0"/>
          </a:p>
          <a:p>
            <a:r>
              <a:rPr lang="it-IT" sz="2000" dirty="0" smtClean="0"/>
              <a:t>Standard of </a:t>
            </a:r>
            <a:r>
              <a:rPr lang="it-IT" sz="2000" dirty="0" err="1" smtClean="0"/>
              <a:t>costs</a:t>
            </a:r>
            <a:endParaRPr lang="it-IT" sz="2000" dirty="0"/>
          </a:p>
          <a:p>
            <a:r>
              <a:rPr lang="it-IT" sz="2000" dirty="0" err="1" smtClean="0"/>
              <a:t>Result-based</a:t>
            </a:r>
            <a:r>
              <a:rPr lang="it-IT" sz="2000" dirty="0" smtClean="0"/>
              <a:t> </a:t>
            </a:r>
            <a:r>
              <a:rPr lang="it-IT" sz="2000" dirty="0" err="1" smtClean="0"/>
              <a:t>measures</a:t>
            </a:r>
            <a:endParaRPr lang="it-IT" sz="2000" dirty="0"/>
          </a:p>
          <a:p>
            <a:r>
              <a:rPr lang="it-IT" sz="2000" dirty="0" smtClean="0"/>
              <a:t>IT </a:t>
            </a:r>
            <a:r>
              <a:rPr lang="it-IT" sz="2000" dirty="0" err="1" smtClean="0"/>
              <a:t>cooperation</a:t>
            </a:r>
            <a:r>
              <a:rPr lang="it-IT" sz="2000" dirty="0" smtClean="0"/>
              <a:t> with </a:t>
            </a:r>
            <a:r>
              <a:rPr lang="it-IT" sz="2000" dirty="0" err="1" smtClean="0"/>
              <a:t>regions</a:t>
            </a:r>
            <a:endParaRPr lang="it-IT" sz="2000" dirty="0" smtClean="0"/>
          </a:p>
          <a:p>
            <a:pPr marL="0" indent="0">
              <a:buNone/>
            </a:pPr>
            <a:endParaRPr lang="it-IT" dirty="0" smtClean="0"/>
          </a:p>
          <a:p>
            <a:pPr marL="0" indent="0">
              <a:buNone/>
            </a:pPr>
            <a:r>
              <a:rPr lang="it-IT" sz="2000" dirty="0" err="1" smtClean="0"/>
              <a:t>Results</a:t>
            </a:r>
            <a:r>
              <a:rPr lang="it-IT" sz="2000" dirty="0" smtClean="0"/>
              <a:t> of the YG </a:t>
            </a:r>
            <a:r>
              <a:rPr lang="it-IT" sz="2000" dirty="0" err="1" smtClean="0"/>
              <a:t>Programme</a:t>
            </a:r>
            <a:r>
              <a:rPr lang="it-IT" sz="2000" dirty="0" smtClean="0"/>
              <a:t> (data at 31/12/2017):</a:t>
            </a:r>
            <a:endParaRPr lang="it-IT" dirty="0" smtClean="0"/>
          </a:p>
          <a:p>
            <a:pPr marL="0" indent="0">
              <a:buNone/>
            </a:pPr>
            <a:endParaRPr lang="it-IT" dirty="0"/>
          </a:p>
          <a:p>
            <a:pPr lvl="0" defTabSz="457200">
              <a:spcBef>
                <a:spcPts val="0"/>
              </a:spcBef>
              <a:spcAft>
                <a:spcPts val="1200"/>
              </a:spcAft>
              <a:buClrTx/>
              <a:buSzTx/>
              <a:buFont typeface="Wingdings" charset="0"/>
              <a:buChar char="Ø"/>
            </a:pPr>
            <a:r>
              <a:rPr lang="it-IT" sz="1600" b="1" dirty="0">
                <a:solidFill>
                  <a:srgbClr val="000000"/>
                </a:solidFill>
                <a:latin typeface="Calisto MT"/>
                <a:cs typeface="Calisto MT"/>
              </a:rPr>
              <a:t>1,250</a:t>
            </a:r>
            <a:r>
              <a:rPr lang="it-IT" sz="1600" dirty="0">
                <a:solidFill>
                  <a:srgbClr val="000000"/>
                </a:solidFill>
                <a:latin typeface="Calisto MT"/>
                <a:cs typeface="Calisto MT"/>
              </a:rPr>
              <a:t> 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milions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of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NEETs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registered</a:t>
            </a:r>
            <a:endParaRPr lang="it-IT" sz="1600" dirty="0" smtClean="0">
              <a:solidFill>
                <a:srgbClr val="000000"/>
              </a:solidFill>
              <a:latin typeface="Calisto MT"/>
              <a:cs typeface="Calisto MT"/>
            </a:endParaRPr>
          </a:p>
          <a:p>
            <a:pPr lvl="0" defTabSz="457200">
              <a:spcBef>
                <a:spcPts val="0"/>
              </a:spcBef>
              <a:spcAft>
                <a:spcPts val="1200"/>
              </a:spcAft>
              <a:buClrTx/>
              <a:buSzTx/>
              <a:buFont typeface="Wingdings" charset="0"/>
              <a:buChar char="Ø"/>
            </a:pPr>
            <a:r>
              <a:rPr lang="it-IT" sz="1600" b="1" dirty="0" smtClean="0">
                <a:solidFill>
                  <a:srgbClr val="000000"/>
                </a:solidFill>
                <a:latin typeface="Calisto MT"/>
                <a:cs typeface="Calisto MT"/>
              </a:rPr>
              <a:t>1,022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milions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of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NEETs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who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has</a:t>
            </a:r>
            <a:r>
              <a:rPr lang="it-IT" sz="1600" dirty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signed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the service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pact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(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activation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program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) (</a:t>
            </a:r>
            <a:r>
              <a:rPr lang="it-IT" sz="1600" b="1" dirty="0" smtClean="0">
                <a:solidFill>
                  <a:srgbClr val="000000"/>
                </a:solidFill>
                <a:latin typeface="Calisto MT"/>
                <a:cs typeface="Calisto MT"/>
              </a:rPr>
              <a:t>81,9</a:t>
            </a:r>
            <a:r>
              <a:rPr lang="it-IT" sz="1600" b="1" dirty="0">
                <a:solidFill>
                  <a:srgbClr val="000000"/>
                </a:solidFill>
                <a:latin typeface="Calisto MT"/>
                <a:cs typeface="Calisto MT"/>
              </a:rPr>
              <a:t>%</a:t>
            </a:r>
            <a:r>
              <a:rPr lang="it-IT" sz="1600" dirty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of the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registered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)</a:t>
            </a:r>
            <a:endParaRPr lang="it-IT" sz="1600" dirty="0">
              <a:solidFill>
                <a:srgbClr val="000000"/>
              </a:solidFill>
              <a:latin typeface="Calisto MT"/>
              <a:cs typeface="Calisto MT"/>
            </a:endParaRPr>
          </a:p>
          <a:p>
            <a:pPr lvl="0" defTabSz="457200">
              <a:spcBef>
                <a:spcPts val="0"/>
              </a:spcBef>
              <a:spcAft>
                <a:spcPts val="1200"/>
              </a:spcAft>
              <a:buClrTx/>
              <a:buSzTx/>
              <a:buFont typeface="Wingdings" charset="0"/>
              <a:buChar char="Ø"/>
            </a:pPr>
            <a:r>
              <a:rPr lang="it-IT" sz="1600" b="1" dirty="0" smtClean="0">
                <a:solidFill>
                  <a:srgbClr val="000000"/>
                </a:solidFill>
                <a:latin typeface="Calisto MT"/>
                <a:cs typeface="Calisto MT"/>
              </a:rPr>
              <a:t>547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thousands</a:t>
            </a:r>
            <a:r>
              <a:rPr lang="it-IT" sz="1600" b="1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registered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that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have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started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an ALMP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measure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 </a:t>
            </a:r>
            <a:r>
              <a:rPr lang="it-IT" sz="1600" dirty="0">
                <a:solidFill>
                  <a:srgbClr val="000000"/>
                </a:solidFill>
                <a:latin typeface="Calisto MT"/>
                <a:cs typeface="Calisto MT"/>
              </a:rPr>
              <a:t>(</a:t>
            </a:r>
            <a:r>
              <a:rPr lang="it-IT" sz="1600" b="1" dirty="0">
                <a:solidFill>
                  <a:srgbClr val="000000"/>
                </a:solidFill>
                <a:latin typeface="Calisto MT"/>
                <a:cs typeface="Calisto MT"/>
              </a:rPr>
              <a:t>53,5%</a:t>
            </a:r>
            <a:r>
              <a:rPr lang="it-IT" sz="1600" dirty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of the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NEETs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that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have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signed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 the </a:t>
            </a:r>
            <a:r>
              <a:rPr lang="it-IT" sz="1600" dirty="0" err="1" smtClean="0">
                <a:solidFill>
                  <a:srgbClr val="000000"/>
                </a:solidFill>
                <a:latin typeface="Calisto MT"/>
                <a:cs typeface="Calisto MT"/>
              </a:rPr>
              <a:t>pact</a:t>
            </a:r>
            <a:r>
              <a:rPr lang="it-IT" sz="1600" dirty="0" smtClean="0">
                <a:solidFill>
                  <a:srgbClr val="000000"/>
                </a:solidFill>
                <a:latin typeface="Calisto MT"/>
                <a:cs typeface="Calisto MT"/>
              </a:rPr>
              <a:t>)</a:t>
            </a:r>
            <a:endParaRPr lang="it-IT" sz="1600" dirty="0">
              <a:solidFill>
                <a:srgbClr val="000000"/>
              </a:solidFill>
              <a:latin typeface="Calisto MT"/>
              <a:cs typeface="Calisto MT"/>
            </a:endParaRPr>
          </a:p>
          <a:p>
            <a:pPr marL="0" indent="0">
              <a:buNone/>
            </a:pPr>
            <a:endParaRPr lang="it-IT" dirty="0"/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78593213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ANPAL </a:t>
            </a:r>
            <a:r>
              <a:rPr lang="it-IT" dirty="0" err="1" smtClean="0"/>
              <a:t>Competences</a:t>
            </a:r>
            <a:r>
              <a:rPr lang="it-IT" dirty="0" smtClean="0"/>
              <a:t> 1/2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>
          <a:xfrm>
            <a:off x="776536" y="987574"/>
            <a:ext cx="8994330" cy="5145506"/>
          </a:xfrm>
        </p:spPr>
        <p:txBody>
          <a:bodyPr/>
          <a:lstStyle/>
          <a:p>
            <a:pPr marL="0" indent="0">
              <a:buNone/>
            </a:pPr>
            <a:endParaRPr lang="it-IT" dirty="0"/>
          </a:p>
        </p:txBody>
      </p:sp>
      <p:graphicFrame>
        <p:nvGraphicFramePr>
          <p:cNvPr id="4" name="Segnaposto contenut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314051786"/>
              </p:ext>
            </p:extLst>
          </p:nvPr>
        </p:nvGraphicFramePr>
        <p:xfrm>
          <a:off x="1136576" y="1590203"/>
          <a:ext cx="8503920" cy="3940248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42553556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>
                <a:solidFill>
                  <a:prstClr val="black"/>
                </a:solidFill>
              </a:rPr>
              <a:t>ANPAL </a:t>
            </a:r>
            <a:r>
              <a:rPr lang="it-IT" dirty="0" err="1">
                <a:solidFill>
                  <a:prstClr val="black"/>
                </a:solidFill>
              </a:rPr>
              <a:t>Competences</a:t>
            </a:r>
            <a:r>
              <a:rPr lang="it-IT" dirty="0">
                <a:solidFill>
                  <a:prstClr val="black"/>
                </a:solidFill>
              </a:rPr>
              <a:t> </a:t>
            </a:r>
            <a:r>
              <a:rPr lang="it-IT" dirty="0" smtClean="0">
                <a:solidFill>
                  <a:prstClr val="black"/>
                </a:solidFill>
              </a:rPr>
              <a:t>2/2</a:t>
            </a:r>
            <a:endParaRPr lang="it-IT" dirty="0"/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it-IT" dirty="0"/>
          </a:p>
        </p:txBody>
      </p:sp>
      <p:graphicFrame>
        <p:nvGraphicFramePr>
          <p:cNvPr id="4" name="Segnaposto contenuto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589641056"/>
              </p:ext>
            </p:extLst>
          </p:nvPr>
        </p:nvGraphicFramePr>
        <p:xfrm>
          <a:off x="704528" y="980662"/>
          <a:ext cx="8599051" cy="5145506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162597434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/>
              <a:t>National Network of services for employment policies </a:t>
            </a:r>
            <a:br>
              <a:rPr lang="en-US" dirty="0"/>
            </a:br>
            <a:endParaRPr lang="it-IT" dirty="0"/>
          </a:p>
        </p:txBody>
      </p:sp>
      <p:sp>
        <p:nvSpPr>
          <p:cNvPr id="4" name="Ovale 3"/>
          <p:cNvSpPr/>
          <p:nvPr/>
        </p:nvSpPr>
        <p:spPr>
          <a:xfrm>
            <a:off x="1442545" y="2090851"/>
            <a:ext cx="2228192" cy="853804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Regions</a:t>
            </a: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 </a:t>
            </a:r>
          </a:p>
        </p:txBody>
      </p:sp>
      <p:sp>
        <p:nvSpPr>
          <p:cNvPr id="5" name="Ovale 4"/>
          <p:cNvSpPr/>
          <p:nvPr/>
        </p:nvSpPr>
        <p:spPr>
          <a:xfrm>
            <a:off x="714700" y="3482003"/>
            <a:ext cx="2371060" cy="914400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NPS</a:t>
            </a:r>
          </a:p>
        </p:txBody>
      </p:sp>
      <p:sp>
        <p:nvSpPr>
          <p:cNvPr id="6" name="Ovale 5"/>
          <p:cNvSpPr/>
          <p:nvPr/>
        </p:nvSpPr>
        <p:spPr>
          <a:xfrm>
            <a:off x="5860773" y="2053812"/>
            <a:ext cx="2150738" cy="845332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Chambers</a:t>
            </a: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 of Commerce</a:t>
            </a:r>
          </a:p>
        </p:txBody>
      </p:sp>
      <p:sp>
        <p:nvSpPr>
          <p:cNvPr id="7" name="Ovale 6"/>
          <p:cNvSpPr/>
          <p:nvPr/>
        </p:nvSpPr>
        <p:spPr>
          <a:xfrm>
            <a:off x="6514823" y="3244249"/>
            <a:ext cx="2475157" cy="1004280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nterprofessional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/ </a:t>
            </a:r>
            <a:r>
              <a:rPr kumimoji="0" lang="it-IT" sz="1600" b="0" i="0" u="none" strike="noStrike" kern="0" cap="none" spc="0" normalizeH="0" baseline="0" noProof="0" dirty="0" err="1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bilateral</a:t>
            </a:r>
            <a:r>
              <a:rPr kumimoji="0" lang="it-IT" sz="16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 Funds</a:t>
            </a:r>
          </a:p>
        </p:txBody>
      </p:sp>
      <p:sp>
        <p:nvSpPr>
          <p:cNvPr id="8" name="Ovale 7"/>
          <p:cNvSpPr/>
          <p:nvPr/>
        </p:nvSpPr>
        <p:spPr>
          <a:xfrm>
            <a:off x="3799306" y="3305124"/>
            <a:ext cx="2371060" cy="791480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ANPAL</a:t>
            </a:r>
          </a:p>
        </p:txBody>
      </p:sp>
      <p:sp>
        <p:nvSpPr>
          <p:cNvPr id="9" name="Ovale 8"/>
          <p:cNvSpPr/>
          <p:nvPr/>
        </p:nvSpPr>
        <p:spPr>
          <a:xfrm>
            <a:off x="3744310" y="5071854"/>
            <a:ext cx="2481052" cy="940062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PES</a:t>
            </a:r>
          </a:p>
        </p:txBody>
      </p:sp>
      <p:sp>
        <p:nvSpPr>
          <p:cNvPr id="10" name="Ovale 9"/>
          <p:cNvSpPr/>
          <p:nvPr/>
        </p:nvSpPr>
        <p:spPr>
          <a:xfrm>
            <a:off x="877921" y="5071854"/>
            <a:ext cx="2371060" cy="1066800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NAIL</a:t>
            </a:r>
          </a:p>
        </p:txBody>
      </p:sp>
      <p:sp>
        <p:nvSpPr>
          <p:cNvPr id="11" name="Ovale 10"/>
          <p:cNvSpPr/>
          <p:nvPr/>
        </p:nvSpPr>
        <p:spPr>
          <a:xfrm>
            <a:off x="6298935" y="4614654"/>
            <a:ext cx="2371060" cy="914400"/>
          </a:xfrm>
          <a:prstGeom prst="ellipse">
            <a:avLst/>
          </a:prstGeom>
          <a:solidFill>
            <a:srgbClr val="5B9BD5"/>
          </a:solidFill>
          <a:ln w="25400" cap="flat" cmpd="sng" algn="ctr">
            <a:solidFill>
              <a:srgbClr val="5B9BD5">
                <a:shade val="50000"/>
              </a:srgbClr>
            </a:solidFill>
            <a:prstDash val="solid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800" b="0" i="0" u="none" strike="noStrike" kern="0" cap="none" spc="0" normalizeH="0" baseline="0" noProof="0" dirty="0" smtClean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  <a:sym typeface="Arial"/>
              </a:rPr>
              <a:t>INAPP</a:t>
            </a:r>
          </a:p>
        </p:txBody>
      </p:sp>
      <p:cxnSp>
        <p:nvCxnSpPr>
          <p:cNvPr id="12" name="Connettore 1 11"/>
          <p:cNvCxnSpPr/>
          <p:nvPr/>
        </p:nvCxnSpPr>
        <p:spPr>
          <a:xfrm>
            <a:off x="3460531" y="2764222"/>
            <a:ext cx="466666" cy="704193"/>
          </a:xfrm>
          <a:prstGeom prst="line">
            <a:avLst/>
          </a:prstGeom>
          <a:noFill/>
          <a:ln w="9525" cap="flat" cmpd="sng" algn="ctr">
            <a:solidFill>
              <a:srgbClr val="5B9BD5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3" name="Connettore 1 12"/>
          <p:cNvCxnSpPr>
            <a:stCxn id="8" idx="2"/>
            <a:endCxn id="5" idx="6"/>
          </p:cNvCxnSpPr>
          <p:nvPr/>
        </p:nvCxnSpPr>
        <p:spPr>
          <a:xfrm flipH="1">
            <a:off x="3085760" y="3700865"/>
            <a:ext cx="713546" cy="238339"/>
          </a:xfrm>
          <a:prstGeom prst="line">
            <a:avLst/>
          </a:prstGeom>
          <a:noFill/>
          <a:ln w="9525" cap="flat" cmpd="sng" algn="ctr">
            <a:solidFill>
              <a:srgbClr val="5B9BD5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4" name="Connettore 1 13"/>
          <p:cNvCxnSpPr>
            <a:stCxn id="8" idx="3"/>
          </p:cNvCxnSpPr>
          <p:nvPr/>
        </p:nvCxnSpPr>
        <p:spPr>
          <a:xfrm flipH="1">
            <a:off x="2556642" y="3980694"/>
            <a:ext cx="1589899" cy="1274478"/>
          </a:xfrm>
          <a:prstGeom prst="line">
            <a:avLst/>
          </a:prstGeom>
          <a:noFill/>
          <a:ln w="9525" cap="flat" cmpd="sng" algn="ctr">
            <a:solidFill>
              <a:srgbClr val="5B9BD5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5" name="Connettore 1 14"/>
          <p:cNvCxnSpPr>
            <a:stCxn id="8" idx="4"/>
          </p:cNvCxnSpPr>
          <p:nvPr/>
        </p:nvCxnSpPr>
        <p:spPr>
          <a:xfrm flipH="1">
            <a:off x="4784834" y="4096605"/>
            <a:ext cx="200002" cy="1275049"/>
          </a:xfrm>
          <a:prstGeom prst="line">
            <a:avLst/>
          </a:prstGeom>
          <a:noFill/>
          <a:ln w="9525" cap="flat" cmpd="sng" algn="ctr">
            <a:solidFill>
              <a:srgbClr val="5B9BD5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6" name="Connettore 1 15"/>
          <p:cNvCxnSpPr>
            <a:stCxn id="8" idx="5"/>
            <a:endCxn id="11" idx="1"/>
          </p:cNvCxnSpPr>
          <p:nvPr/>
        </p:nvCxnSpPr>
        <p:spPr>
          <a:xfrm>
            <a:off x="5823133" y="3980695"/>
            <a:ext cx="823037" cy="767871"/>
          </a:xfrm>
          <a:prstGeom prst="line">
            <a:avLst/>
          </a:prstGeom>
          <a:noFill/>
          <a:ln w="9525" cap="flat" cmpd="sng" algn="ctr">
            <a:solidFill>
              <a:srgbClr val="5B9BD5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7" name="Connettore 1 16"/>
          <p:cNvCxnSpPr>
            <a:stCxn id="8" idx="6"/>
            <a:endCxn id="7" idx="2"/>
          </p:cNvCxnSpPr>
          <p:nvPr/>
        </p:nvCxnSpPr>
        <p:spPr>
          <a:xfrm>
            <a:off x="6170366" y="3700865"/>
            <a:ext cx="344456" cy="45525"/>
          </a:xfrm>
          <a:prstGeom prst="line">
            <a:avLst/>
          </a:prstGeom>
          <a:noFill/>
          <a:ln w="9525" cap="flat" cmpd="sng" algn="ctr">
            <a:solidFill>
              <a:srgbClr val="5B9BD5">
                <a:shade val="95000"/>
                <a:satMod val="105000"/>
              </a:srgbClr>
            </a:solidFill>
            <a:prstDash val="solid"/>
          </a:ln>
          <a:effectLst/>
        </p:spPr>
      </p:cxnSp>
      <p:cxnSp>
        <p:nvCxnSpPr>
          <p:cNvPr id="18" name="Connettore 1 17"/>
          <p:cNvCxnSpPr>
            <a:stCxn id="8" idx="7"/>
            <a:endCxn id="6" idx="3"/>
          </p:cNvCxnSpPr>
          <p:nvPr/>
        </p:nvCxnSpPr>
        <p:spPr>
          <a:xfrm flipV="1">
            <a:off x="5823133" y="2775348"/>
            <a:ext cx="352609" cy="645686"/>
          </a:xfrm>
          <a:prstGeom prst="line">
            <a:avLst/>
          </a:prstGeom>
          <a:noFill/>
          <a:ln w="9525" cap="flat" cmpd="sng" algn="ctr">
            <a:solidFill>
              <a:srgbClr val="5B9BD5">
                <a:shade val="95000"/>
                <a:satMod val="105000"/>
              </a:srgbClr>
            </a:solidFill>
            <a:prstDash val="solid"/>
          </a:ln>
          <a:effectLst/>
        </p:spPr>
      </p:cxnSp>
    </p:spTree>
    <p:extLst>
      <p:ext uri="{BB962C8B-B14F-4D97-AF65-F5344CB8AC3E}">
        <p14:creationId xmlns:p14="http://schemas.microsoft.com/office/powerpoint/2010/main" val="5577857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/>
              <a:t>The Strategic Plan for </a:t>
            </a:r>
            <a:r>
              <a:rPr lang="it-IT" dirty="0" err="1"/>
              <a:t>strengthening</a:t>
            </a:r>
            <a:r>
              <a:rPr lang="it-IT" dirty="0"/>
              <a:t> PES and ALMP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>
            <a:normAutofit fontScale="92500"/>
          </a:bodyPr>
          <a:lstStyle/>
          <a:p>
            <a:pPr lvl="0" defTabSz="457200">
              <a:buClrTx/>
              <a:buSzTx/>
              <a:buFont typeface="Arial"/>
              <a:buChar char="•"/>
            </a:pPr>
            <a:r>
              <a:rPr lang="it-IT" dirty="0">
                <a:solidFill>
                  <a:prstClr val="black"/>
                </a:solidFill>
                <a:latin typeface="Calibri"/>
              </a:rPr>
              <a:t>Common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tools</a:t>
            </a:r>
            <a:r>
              <a:rPr lang="it-IT" dirty="0">
                <a:solidFill>
                  <a:prstClr val="black"/>
                </a:solidFill>
                <a:latin typeface="Calibri"/>
              </a:rPr>
              <a:t> for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supporting</a:t>
            </a:r>
            <a:r>
              <a:rPr lang="it-IT" dirty="0">
                <a:solidFill>
                  <a:prstClr val="black"/>
                </a:solidFill>
                <a:latin typeface="Calibri"/>
              </a:rPr>
              <a:t> PES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activity</a:t>
            </a:r>
            <a:endParaRPr lang="it-IT" dirty="0">
              <a:solidFill>
                <a:prstClr val="black"/>
              </a:solidFill>
              <a:latin typeface="Calibri"/>
            </a:endParaRPr>
          </a:p>
          <a:p>
            <a:pPr lvl="0" defTabSz="457200">
              <a:buClrTx/>
              <a:buSzTx/>
              <a:buFont typeface="Arial"/>
              <a:buChar char="•"/>
            </a:pPr>
            <a:r>
              <a:rPr lang="it-IT" dirty="0">
                <a:solidFill>
                  <a:prstClr val="black"/>
                </a:solidFill>
                <a:latin typeface="Calibri"/>
              </a:rPr>
              <a:t>IT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systems</a:t>
            </a:r>
            <a:r>
              <a:rPr lang="it-IT" dirty="0">
                <a:solidFill>
                  <a:prstClr val="black"/>
                </a:solidFill>
                <a:latin typeface="Calibri"/>
              </a:rPr>
              <a:t>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integration</a:t>
            </a:r>
            <a:endParaRPr lang="it-IT" dirty="0">
              <a:solidFill>
                <a:prstClr val="black"/>
              </a:solidFill>
              <a:latin typeface="Calibri"/>
            </a:endParaRPr>
          </a:p>
          <a:p>
            <a:pPr lvl="0" defTabSz="457200">
              <a:buClrTx/>
              <a:buSzTx/>
              <a:buFont typeface="Arial"/>
              <a:buChar char="•"/>
            </a:pPr>
            <a:r>
              <a:rPr lang="it-IT" dirty="0">
                <a:solidFill>
                  <a:prstClr val="black"/>
                </a:solidFill>
                <a:latin typeface="Calibri"/>
              </a:rPr>
              <a:t>New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hirings</a:t>
            </a:r>
            <a:r>
              <a:rPr lang="it-IT" dirty="0">
                <a:solidFill>
                  <a:prstClr val="black"/>
                </a:solidFill>
                <a:latin typeface="Calibri"/>
              </a:rPr>
              <a:t> (1 600 new case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managers</a:t>
            </a:r>
            <a:r>
              <a:rPr lang="it-IT" dirty="0">
                <a:solidFill>
                  <a:prstClr val="black"/>
                </a:solidFill>
                <a:latin typeface="Calibri"/>
              </a:rPr>
              <a:t>)</a:t>
            </a:r>
          </a:p>
          <a:p>
            <a:pPr lvl="0" defTabSz="457200">
              <a:buClrTx/>
              <a:buSzTx/>
              <a:buFont typeface="Arial"/>
              <a:buChar char="•"/>
            </a:pPr>
            <a:r>
              <a:rPr lang="it-IT" dirty="0">
                <a:solidFill>
                  <a:prstClr val="black"/>
                </a:solidFill>
                <a:latin typeface="Calibri"/>
              </a:rPr>
              <a:t>Training for PES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officers</a:t>
            </a:r>
            <a:endParaRPr lang="it-IT" dirty="0">
              <a:solidFill>
                <a:prstClr val="black"/>
              </a:solidFill>
              <a:latin typeface="Calibri"/>
            </a:endParaRPr>
          </a:p>
          <a:p>
            <a:pPr lvl="0" defTabSz="457200">
              <a:buClrTx/>
              <a:buSzTx/>
              <a:buFont typeface="Arial"/>
              <a:buChar char="•"/>
            </a:pPr>
            <a:r>
              <a:rPr lang="it-IT" dirty="0">
                <a:solidFill>
                  <a:prstClr val="black"/>
                </a:solidFill>
                <a:latin typeface="Calibri"/>
              </a:rPr>
              <a:t>Development of </a:t>
            </a:r>
            <a:r>
              <a:rPr lang="it-IT" dirty="0" err="1">
                <a:solidFill>
                  <a:prstClr val="black"/>
                </a:solidFill>
                <a:latin typeface="Calibri"/>
              </a:rPr>
              <a:t>services</a:t>
            </a:r>
            <a:r>
              <a:rPr lang="it-IT" dirty="0">
                <a:solidFill>
                  <a:prstClr val="black"/>
                </a:solidFill>
                <a:latin typeface="Calibri"/>
              </a:rPr>
              <a:t> for </a:t>
            </a:r>
            <a:r>
              <a:rPr lang="it-IT" dirty="0" err="1" smtClean="0">
                <a:solidFill>
                  <a:prstClr val="black"/>
                </a:solidFill>
                <a:latin typeface="Calibri"/>
              </a:rPr>
              <a:t>employers</a:t>
            </a:r>
            <a:endParaRPr lang="it-IT" dirty="0" smtClean="0">
              <a:solidFill>
                <a:prstClr val="black"/>
              </a:solidFill>
              <a:latin typeface="Calibri"/>
            </a:endParaRPr>
          </a:p>
          <a:p>
            <a:pPr marL="0" lvl="0" indent="0" defTabSz="457200">
              <a:buClrTx/>
              <a:buSzTx/>
              <a:buNone/>
            </a:pPr>
            <a:endParaRPr lang="it-IT" dirty="0">
              <a:solidFill>
                <a:prstClr val="black"/>
              </a:solidFill>
              <a:latin typeface="Calibri"/>
            </a:endParaRPr>
          </a:p>
          <a:p>
            <a:pPr marL="0" lvl="0" indent="0" defTabSz="457200">
              <a:buClrTx/>
              <a:buSzTx/>
              <a:buNone/>
            </a:pPr>
            <a:r>
              <a:rPr lang="it-IT" dirty="0" err="1" smtClean="0">
                <a:solidFill>
                  <a:prstClr val="black"/>
                </a:solidFill>
                <a:latin typeface="Calibri"/>
              </a:rPr>
              <a:t>December</a:t>
            </a:r>
            <a:r>
              <a:rPr lang="it-IT" dirty="0" smtClean="0">
                <a:solidFill>
                  <a:prstClr val="black"/>
                </a:solidFill>
                <a:latin typeface="Calibri"/>
              </a:rPr>
              <a:t> 2017:</a:t>
            </a:r>
          </a:p>
          <a:p>
            <a:pPr marL="0" lvl="0" indent="0" defTabSz="457200">
              <a:buClrTx/>
              <a:buSzTx/>
              <a:buNone/>
            </a:pPr>
            <a:r>
              <a:rPr lang="it-IT" dirty="0" err="1" smtClean="0">
                <a:solidFill>
                  <a:prstClr val="black"/>
                </a:solidFill>
                <a:latin typeface="Calibri"/>
              </a:rPr>
              <a:t>Approval</a:t>
            </a:r>
            <a:r>
              <a:rPr lang="it-IT" dirty="0" smtClean="0">
                <a:solidFill>
                  <a:prstClr val="black"/>
                </a:solidFill>
                <a:latin typeface="Calibri"/>
              </a:rPr>
              <a:t> of the Plan and </a:t>
            </a:r>
            <a:r>
              <a:rPr lang="it-IT" dirty="0" err="1" smtClean="0">
                <a:solidFill>
                  <a:prstClr val="black"/>
                </a:solidFill>
                <a:latin typeface="Calibri"/>
              </a:rPr>
              <a:t>approval</a:t>
            </a:r>
            <a:r>
              <a:rPr lang="it-IT" dirty="0" smtClean="0">
                <a:solidFill>
                  <a:prstClr val="black"/>
                </a:solidFill>
                <a:latin typeface="Calibri"/>
              </a:rPr>
              <a:t> of the </a:t>
            </a:r>
            <a:r>
              <a:rPr lang="it-IT" dirty="0" err="1" smtClean="0">
                <a:solidFill>
                  <a:prstClr val="black"/>
                </a:solidFill>
                <a:latin typeface="Calibri"/>
              </a:rPr>
              <a:t>essential</a:t>
            </a:r>
            <a:r>
              <a:rPr lang="it-IT" dirty="0" smtClean="0">
                <a:solidFill>
                  <a:prstClr val="black"/>
                </a:solidFill>
                <a:latin typeface="Calibri"/>
              </a:rPr>
              <a:t> </a:t>
            </a:r>
            <a:r>
              <a:rPr lang="it-IT" dirty="0" err="1" smtClean="0">
                <a:solidFill>
                  <a:prstClr val="black"/>
                </a:solidFill>
                <a:latin typeface="Calibri"/>
              </a:rPr>
              <a:t>level</a:t>
            </a:r>
            <a:r>
              <a:rPr lang="it-IT" dirty="0" smtClean="0">
                <a:solidFill>
                  <a:prstClr val="black"/>
                </a:solidFill>
                <a:latin typeface="Calibri"/>
              </a:rPr>
              <a:t> of performances (LEP), in </a:t>
            </a:r>
            <a:r>
              <a:rPr lang="it-IT" dirty="0" err="1" smtClean="0">
                <a:solidFill>
                  <a:prstClr val="black"/>
                </a:solidFill>
                <a:latin typeface="Calibri"/>
              </a:rPr>
              <a:t>agreement</a:t>
            </a:r>
            <a:r>
              <a:rPr lang="it-IT" dirty="0" smtClean="0">
                <a:solidFill>
                  <a:prstClr val="black"/>
                </a:solidFill>
                <a:latin typeface="Calibri"/>
              </a:rPr>
              <a:t> with </a:t>
            </a:r>
            <a:r>
              <a:rPr lang="it-IT" dirty="0" err="1" smtClean="0">
                <a:solidFill>
                  <a:prstClr val="black"/>
                </a:solidFill>
                <a:latin typeface="Calibri"/>
              </a:rPr>
              <a:t>regions</a:t>
            </a:r>
            <a:endParaRPr lang="it-IT" dirty="0">
              <a:solidFill>
                <a:prstClr val="black"/>
              </a:solidFill>
              <a:latin typeface="Calibri"/>
            </a:endParaRPr>
          </a:p>
          <a:p>
            <a:endParaRPr lang="it-IT" dirty="0"/>
          </a:p>
        </p:txBody>
      </p:sp>
    </p:spTree>
    <p:extLst>
      <p:ext uri="{BB962C8B-B14F-4D97-AF65-F5344CB8AC3E}">
        <p14:creationId xmlns:p14="http://schemas.microsoft.com/office/powerpoint/2010/main" val="193529696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Some information on PES staff (in </a:t>
            </a:r>
            <a:r>
              <a:rPr lang="it-IT" dirty="0" err="1" smtClean="0"/>
              <a:t>local</a:t>
            </a:r>
            <a:r>
              <a:rPr lang="it-IT" dirty="0" smtClean="0"/>
              <a:t> </a:t>
            </a:r>
            <a:r>
              <a:rPr lang="it-IT" dirty="0" err="1" smtClean="0"/>
              <a:t>offices</a:t>
            </a:r>
            <a:r>
              <a:rPr lang="it-IT" dirty="0" smtClean="0"/>
              <a:t>)</a:t>
            </a:r>
            <a:endParaRPr lang="it-IT" dirty="0"/>
          </a:p>
        </p:txBody>
      </p:sp>
      <p:graphicFrame>
        <p:nvGraphicFramePr>
          <p:cNvPr id="7" name="Tabella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1031357"/>
              </p:ext>
            </p:extLst>
          </p:nvPr>
        </p:nvGraphicFramePr>
        <p:xfrm>
          <a:off x="304055" y="1677535"/>
          <a:ext cx="8473784" cy="208760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118446"/>
                <a:gridCol w="2118446"/>
                <a:gridCol w="2118446"/>
                <a:gridCol w="2118446"/>
              </a:tblGrid>
              <a:tr h="616945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 dirty="0">
                          <a:effectLst/>
                        </a:rPr>
                        <a:t>AREA</a:t>
                      </a:r>
                      <a:endParaRPr lang="it-IT" sz="1600" dirty="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Total </a:t>
                      </a:r>
                      <a:br>
                        <a:rPr lang="it-IT" sz="1600" dirty="0" smtClean="0">
                          <a:effectLst/>
                        </a:rPr>
                      </a:br>
                      <a:r>
                        <a:rPr lang="it-IT" sz="1600" dirty="0" smtClean="0">
                          <a:effectLst/>
                        </a:rPr>
                        <a:t>of</a:t>
                      </a:r>
                      <a:r>
                        <a:rPr lang="it-IT" sz="1600" baseline="0" dirty="0" smtClean="0">
                          <a:effectLst/>
                        </a:rPr>
                        <a:t> staff</a:t>
                      </a:r>
                      <a:endParaRPr lang="it-IT" sz="1600" dirty="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/>
                      </a:r>
                      <a:br>
                        <a:rPr lang="it-IT" sz="1600" dirty="0" smtClean="0">
                          <a:effectLst/>
                        </a:rPr>
                      </a:br>
                      <a:r>
                        <a:rPr lang="it-IT" sz="1600" dirty="0" smtClean="0">
                          <a:effectLst/>
                        </a:rPr>
                        <a:t> front-office </a:t>
                      </a:r>
                      <a:r>
                        <a:rPr lang="it-IT" sz="1600" dirty="0">
                          <a:effectLst/>
                        </a:rPr>
                        <a:t>(%) </a:t>
                      </a:r>
                      <a:endParaRPr lang="it-IT" sz="1600" dirty="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/>
                      </a:r>
                      <a:br>
                        <a:rPr lang="it-IT" sz="1600" dirty="0" smtClean="0">
                          <a:effectLst/>
                        </a:rPr>
                      </a:br>
                      <a:r>
                        <a:rPr lang="it-IT" sz="1600" dirty="0" err="1" smtClean="0">
                          <a:effectLst/>
                        </a:rPr>
                        <a:t>external</a:t>
                      </a:r>
                      <a:r>
                        <a:rPr lang="it-IT" sz="1600" dirty="0" smtClean="0">
                          <a:effectLst/>
                        </a:rPr>
                        <a:t> </a:t>
                      </a:r>
                      <a:r>
                        <a:rPr lang="it-IT" sz="1600" dirty="0">
                          <a:effectLst/>
                        </a:rPr>
                        <a:t>(%</a:t>
                      </a:r>
                      <a:r>
                        <a:rPr lang="it-IT" sz="1600" dirty="0" smtClean="0">
                          <a:effectLst/>
                        </a:rPr>
                        <a:t>)</a:t>
                      </a:r>
                      <a:endParaRPr lang="it-IT" sz="1600" dirty="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</a:tr>
              <a:tr h="3652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 dirty="0">
                          <a:effectLst/>
                        </a:rPr>
                        <a:t>NORD</a:t>
                      </a:r>
                      <a:endParaRPr lang="it-IT" sz="1600" dirty="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2.453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86,0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6,7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</a:tr>
              <a:tr h="3652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 dirty="0">
                          <a:effectLst/>
                        </a:rPr>
                        <a:t>CENTRO</a:t>
                      </a:r>
                      <a:endParaRPr lang="it-IT" sz="1600" dirty="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2.033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84,4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19,6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</a:tr>
              <a:tr h="3652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SUD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3.703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82,0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0,5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</a:tr>
              <a:tr h="365273">
                <a:tc>
                  <a:txBody>
                    <a:bodyPr/>
                    <a:lstStyle/>
                    <a:p>
                      <a:pPr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TOTALE ITALIA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8.189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83,8</a:t>
                      </a:r>
                      <a:endParaRPr lang="it-IT" sz="160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>
                          <a:effectLst/>
                        </a:rPr>
                        <a:t>7,1</a:t>
                      </a:r>
                      <a:endParaRPr lang="it-IT" sz="1600" dirty="0">
                        <a:effectLst/>
                        <a:latin typeface="Calisto MT"/>
                        <a:ea typeface="ＭＳ 明朝"/>
                        <a:cs typeface="Calisto MT"/>
                      </a:endParaRPr>
                    </a:p>
                  </a:txBody>
                  <a:tcPr marL="47625" marR="47625" marT="66675" marB="57150"/>
                </a:tc>
              </a:tr>
            </a:tbl>
          </a:graphicData>
        </a:graphic>
      </p:graphicFrame>
      <p:graphicFrame>
        <p:nvGraphicFramePr>
          <p:cNvPr id="8" name="Tabella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3037183"/>
              </p:ext>
            </p:extLst>
          </p:nvPr>
        </p:nvGraphicFramePr>
        <p:xfrm>
          <a:off x="315910" y="4005064"/>
          <a:ext cx="8531420" cy="23418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895870"/>
                <a:gridCol w="1327110"/>
                <a:gridCol w="1327110"/>
                <a:gridCol w="1327110"/>
                <a:gridCol w="1327110"/>
                <a:gridCol w="1327110"/>
              </a:tblGrid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 err="1" smtClean="0">
                          <a:effectLst/>
                        </a:rPr>
                        <a:t>Study</a:t>
                      </a:r>
                      <a:r>
                        <a:rPr lang="it-IT" sz="1600" dirty="0" smtClean="0">
                          <a:effectLst/>
                        </a:rPr>
                        <a:t> </a:t>
                      </a:r>
                      <a:r>
                        <a:rPr lang="it-IT" sz="1600" dirty="0" err="1" smtClean="0">
                          <a:effectLst/>
                        </a:rPr>
                        <a:t>titles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>
                          <a:effectLst/>
                        </a:rPr>
                        <a:t>Sud e Isole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Centro</a:t>
                      </a:r>
                      <a:endParaRPr lang="it-IT" sz="160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Nord Est</a:t>
                      </a:r>
                      <a:endParaRPr lang="it-IT" sz="160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>
                          <a:effectLst/>
                        </a:rPr>
                        <a:t>Nord Ovest</a:t>
                      </a:r>
                      <a:endParaRPr lang="it-IT" sz="160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Total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 err="1" smtClean="0">
                          <a:effectLst/>
                        </a:rPr>
                        <a:t>Secondary</a:t>
                      </a:r>
                      <a:r>
                        <a:rPr lang="it-IT" sz="1600" dirty="0" smtClean="0">
                          <a:effectLst/>
                        </a:rPr>
                        <a:t> </a:t>
                      </a:r>
                      <a:r>
                        <a:rPr lang="it-IT" sz="1600" dirty="0" err="1" smtClean="0">
                          <a:effectLst/>
                        </a:rPr>
                        <a:t>school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5,7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9,2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8,6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1,7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1,3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Diploma (high</a:t>
                      </a:r>
                      <a:r>
                        <a:rPr lang="it-IT" sz="1600" baseline="0" dirty="0" smtClean="0">
                          <a:effectLst/>
                        </a:rPr>
                        <a:t> </a:t>
                      </a:r>
                      <a:r>
                        <a:rPr lang="it-IT" sz="1600" baseline="0" dirty="0" err="1" smtClean="0">
                          <a:effectLst/>
                        </a:rPr>
                        <a:t>school</a:t>
                      </a:r>
                      <a:r>
                        <a:rPr lang="it-IT" sz="1600" baseline="0" dirty="0" smtClean="0">
                          <a:effectLst/>
                        </a:rPr>
                        <a:t>)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78,1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63,3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62,0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66,5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67,6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Post diploma </a:t>
                      </a:r>
                      <a:r>
                        <a:rPr lang="it-IT" sz="1600" dirty="0" err="1" smtClean="0">
                          <a:effectLst/>
                        </a:rPr>
                        <a:t>title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7,4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35,2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36,9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30,7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30,0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>
                          <a:effectLst/>
                        </a:rPr>
                        <a:t>ND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4,4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,3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,1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2,9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2,4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</a:tr>
              <a:tr h="370840">
                <a:tc>
                  <a:txBody>
                    <a:bodyPr/>
                    <a:lstStyle/>
                    <a:p>
                      <a:pPr algn="just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Total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00,0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0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0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0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algn="r">
                        <a:spcAft>
                          <a:spcPts val="0"/>
                        </a:spcAft>
                      </a:pPr>
                      <a:r>
                        <a:rPr lang="it-IT" sz="1600" dirty="0" smtClean="0">
                          <a:effectLst/>
                        </a:rPr>
                        <a:t>10</a:t>
                      </a:r>
                      <a:r>
                        <a:rPr lang="mr-IN" sz="1600" dirty="0" smtClean="0">
                          <a:effectLst/>
                        </a:rPr>
                        <a:t>%</a:t>
                      </a:r>
                      <a:endParaRPr lang="it-IT" sz="1600" dirty="0">
                        <a:solidFill>
                          <a:srgbClr val="000000"/>
                        </a:solidFill>
                        <a:effectLst/>
                        <a:latin typeface="Calisto MT"/>
                        <a:ea typeface="Calibri"/>
                        <a:cs typeface="Calisto MT"/>
                      </a:endParaRPr>
                    </a:p>
                  </a:txBody>
                  <a:tcPr marL="68580" marR="68580" marT="0" marB="0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22863108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 dirty="0" smtClean="0"/>
              <a:t>How </a:t>
            </a:r>
            <a:r>
              <a:rPr lang="it-IT" dirty="0" err="1" smtClean="0"/>
              <a:t>much</a:t>
            </a:r>
            <a:r>
              <a:rPr lang="it-IT" dirty="0" smtClean="0"/>
              <a:t> </a:t>
            </a:r>
            <a:r>
              <a:rPr lang="it-IT" dirty="0" err="1" smtClean="0"/>
              <a:t>we</a:t>
            </a:r>
            <a:r>
              <a:rPr lang="it-IT" dirty="0" smtClean="0"/>
              <a:t> </a:t>
            </a:r>
            <a:r>
              <a:rPr lang="it-IT" dirty="0" err="1" smtClean="0"/>
              <a:t>spend</a:t>
            </a:r>
            <a:r>
              <a:rPr lang="it-IT" dirty="0" smtClean="0"/>
              <a:t> on </a:t>
            </a:r>
            <a:r>
              <a:rPr lang="it-IT" dirty="0" err="1" smtClean="0"/>
              <a:t>ALMPs</a:t>
            </a:r>
            <a:endParaRPr lang="it-IT" dirty="0"/>
          </a:p>
        </p:txBody>
      </p:sp>
      <p:graphicFrame>
        <p:nvGraphicFramePr>
          <p:cNvPr id="6" name="Segnaposto contenuto 3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00604282"/>
              </p:ext>
            </p:extLst>
          </p:nvPr>
        </p:nvGraphicFramePr>
        <p:xfrm>
          <a:off x="704528" y="1556792"/>
          <a:ext cx="8101300" cy="3740695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5921501"/>
                <a:gridCol w="2179799"/>
              </a:tblGrid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Voci di spesa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Importo stimato</a:t>
                      </a:r>
                    </a:p>
                    <a:p>
                      <a:pPr algn="r" fontAlgn="b"/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(mln. €)</a:t>
                      </a:r>
                      <a:endParaRPr lang="mr-IN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b="0" i="0" u="none" strike="noStrike" dirty="0" smtClean="0">
                          <a:solidFill>
                            <a:schemeClr val="dk1"/>
                          </a:solidFill>
                          <a:effectLst/>
                          <a:latin typeface="Calisto MT"/>
                          <a:cs typeface="Calisto MT"/>
                        </a:rPr>
                        <a:t>Staff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2000" u="none" strike="noStrike" dirty="0">
                          <a:effectLst/>
                          <a:latin typeface="Calisto MT"/>
                          <a:cs typeface="Calisto MT"/>
                        </a:rPr>
                        <a:t> 370,00   </a:t>
                      </a:r>
                      <a:endParaRPr lang="mr-IN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 err="1" smtClean="0">
                          <a:effectLst/>
                          <a:latin typeface="Calisto MT"/>
                          <a:cs typeface="Calisto MT"/>
                        </a:rPr>
                        <a:t>Functioning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2000" u="none" strike="noStrike">
                          <a:effectLst/>
                          <a:latin typeface="Calisto MT"/>
                          <a:cs typeface="Calisto MT"/>
                        </a:rPr>
                        <a:t> 60,00   </a:t>
                      </a:r>
                      <a:endParaRPr lang="mr-IN" sz="2000" b="0" i="0" u="none" strike="noStrike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 err="1" smtClean="0">
                          <a:effectLst/>
                          <a:latin typeface="Calisto MT"/>
                          <a:cs typeface="Calisto MT"/>
                        </a:rPr>
                        <a:t>Policies</a:t>
                      </a:r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 (ESF</a:t>
                      </a:r>
                      <a:r>
                        <a:rPr lang="it-IT" sz="2000" u="none" strike="noStrike" baseline="0" dirty="0" smtClean="0">
                          <a:effectLst/>
                          <a:latin typeface="Calisto MT"/>
                          <a:cs typeface="Calisto MT"/>
                        </a:rPr>
                        <a:t> </a:t>
                      </a:r>
                      <a:r>
                        <a:rPr lang="it-IT" sz="2000" u="none" strike="noStrike" baseline="0" dirty="0" err="1" smtClean="0">
                          <a:effectLst/>
                          <a:latin typeface="Calisto MT"/>
                          <a:cs typeface="Calisto MT"/>
                        </a:rPr>
                        <a:t>programmes</a:t>
                      </a:r>
                      <a:r>
                        <a:rPr lang="it-IT" sz="2000" u="none" strike="noStrike" baseline="0" dirty="0" smtClean="0">
                          <a:effectLst/>
                          <a:latin typeface="Calisto MT"/>
                          <a:cs typeface="Calisto MT"/>
                        </a:rPr>
                        <a:t>)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>
                          <a:effectLst/>
                          <a:latin typeface="Calisto MT"/>
                          <a:cs typeface="Calisto MT"/>
                        </a:rPr>
                        <a:t> 1.300,00   </a:t>
                      </a:r>
                      <a:endParaRPr lang="en-US" sz="2000" b="0" i="0" u="none" strike="noStrike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ALMP National Fund  (</a:t>
                      </a:r>
                      <a:r>
                        <a:rPr lang="it-IT" sz="2000" u="none" strike="noStrike" dirty="0" err="1" smtClean="0">
                          <a:effectLst/>
                          <a:latin typeface="Calisto MT"/>
                          <a:cs typeface="Calisto MT"/>
                        </a:rPr>
                        <a:t>average</a:t>
                      </a:r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 2015-2018)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en-US" sz="2000" u="none" strike="noStrike" dirty="0">
                          <a:effectLst/>
                          <a:latin typeface="Calisto MT"/>
                          <a:cs typeface="Calisto MT"/>
                        </a:rPr>
                        <a:t> </a:t>
                      </a:r>
                      <a:r>
                        <a:rPr lang="en-US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105,00   </a:t>
                      </a:r>
                      <a:endParaRPr lang="en-US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Total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2000" u="none" strike="noStrike" dirty="0">
                          <a:effectLst/>
                          <a:latin typeface="Calisto MT"/>
                          <a:cs typeface="Calisto MT"/>
                        </a:rPr>
                        <a:t> </a:t>
                      </a:r>
                      <a:r>
                        <a:rPr lang="mr-IN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2.08</a:t>
                      </a:r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6</a:t>
                      </a:r>
                      <a:r>
                        <a:rPr lang="mr-IN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,00   </a:t>
                      </a:r>
                      <a:endParaRPr lang="mr-IN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>
                          <a:effectLst/>
                          <a:latin typeface="Calisto MT"/>
                          <a:cs typeface="Calisto MT"/>
                        </a:rPr>
                        <a:t>% </a:t>
                      </a:r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on GDP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mr-IN" sz="2000" u="none" strike="noStrike" dirty="0">
                          <a:effectLst/>
                          <a:latin typeface="Calisto MT"/>
                          <a:cs typeface="Calisto MT"/>
                        </a:rPr>
                        <a:t>0,12%</a:t>
                      </a:r>
                      <a:endParaRPr lang="mr-IN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  <a:tr h="445485">
                <a:tc>
                  <a:txBody>
                    <a:bodyPr/>
                    <a:lstStyle/>
                    <a:p>
                      <a:pPr algn="l" fontAlgn="b"/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Total</a:t>
                      </a:r>
                      <a:r>
                        <a:rPr lang="it-IT" sz="2000" u="none" strike="noStrike" baseline="0" dirty="0" smtClean="0">
                          <a:effectLst/>
                          <a:latin typeface="Calisto MT"/>
                          <a:cs typeface="Calisto MT"/>
                        </a:rPr>
                        <a:t> of </a:t>
                      </a:r>
                      <a:r>
                        <a:rPr lang="it-IT" sz="2000" u="none" strike="noStrike" baseline="0" dirty="0" err="1" smtClean="0">
                          <a:effectLst/>
                          <a:latin typeface="Calisto MT"/>
                          <a:cs typeface="Calisto MT"/>
                        </a:rPr>
                        <a:t>ALMPs</a:t>
                      </a:r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 (% on GDP 2016)</a:t>
                      </a:r>
                      <a:endParaRPr lang="it-IT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  <a:tc>
                  <a:txBody>
                    <a:bodyPr/>
                    <a:lstStyle/>
                    <a:p>
                      <a:pPr algn="r" fontAlgn="b"/>
                      <a:r>
                        <a:rPr lang="it-IT" sz="2000" u="none" strike="noStrike" dirty="0" smtClean="0">
                          <a:effectLst/>
                          <a:latin typeface="Calisto MT"/>
                          <a:cs typeface="Calisto MT"/>
                        </a:rPr>
                        <a:t>0,40%</a:t>
                      </a:r>
                      <a:endParaRPr lang="mr-IN" sz="2000" b="0" i="0" u="none" strike="noStrike" dirty="0">
                        <a:solidFill>
                          <a:srgbClr val="000000"/>
                        </a:solidFill>
                        <a:effectLst/>
                        <a:latin typeface="Calisto MT"/>
                        <a:cs typeface="Calisto MT"/>
                      </a:endParaRPr>
                    </a:p>
                  </a:txBody>
                  <a:tcPr marL="12700" marR="12700" marT="12700" marB="0" anchor="b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867902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6160&quot;&gt;&lt;version val=&quot;17973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7&quot;&gt;&lt;elem m_fUsage=&quot;1.55610000000000000000E+000&quot;&gt;&lt;m_ppcolschidx val=&quot;0&quot;/&gt;&lt;m_rgb r=&quot;5a&quot; g=&quot;be&quot; b=&quot;a3&quot;/&gt;&lt;/elem&gt;&lt;elem m_fUsage=&quot;1.00000000000000000000E+000&quot;&gt;&lt;m_ppcolschidx val=&quot;0&quot;/&gt;&lt;m_rgb r=&quot;cf&quot; g=&quot;f2&quot; b=&quot;fe&quot;/&gt;&lt;/elem&gt;&lt;elem m_fUsage=&quot;9.08764110000000010000E-001&quot;&gt;&lt;m_ppcolschidx val=&quot;0&quot;/&gt;&lt;m_rgb r=&quot;e7&quot; g=&quot;1e&quot; b=&quot;1&quot;/&gt;&lt;/elem&gt;&lt;elem m_fUsage=&quot;8.10000000000000050000E-001&quot;&gt;&lt;m_ppcolschidx val=&quot;0&quot;/&gt;&lt;m_rgb r=&quot;e3&quot; g=&quot;97&quot; b=&quot;4a&quot;/&gt;&lt;/elem&gt;&lt;elem m_fUsage=&quot;7.29000000000000090000E-001&quot;&gt;&lt;m_ppcolschidx val=&quot;0&quot;/&gt;&lt;m_rgb r=&quot;cd&quot; g=&quot;dd&quot; b=&quot;f8&quot;/&gt;&lt;/elem&gt;&lt;elem m_fUsage=&quot;5.90490000000000180000E-001&quot;&gt;&lt;m_ppcolschidx val=&quot;0&quot;/&gt;&lt;m_rgb r=&quot;0&quot; g=&quot;70&quot; b=&quot;c0&quot;/&gt;&lt;/elem&gt;&lt;elem m_fUsage=&quot;5.31441000000000160000E-001&quot;&gt;&lt;m_ppcolschidx val=&quot;0&quot;/&gt;&lt;m_rgb r=&quot;2d&quot; g=&quot;d2&quot; b=&quot;28&quot;/&gt;&lt;/elem&gt;&lt;/m_vecMRU&gt;&lt;/m_mruColor&gt;&lt;m_agendatheme&gt;&lt;m_aagendaitemprops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1&quot;/&gt;&lt;/m_font&gt;&lt;m_colFont&gt;&lt;m_ppcolschidx val=&quot;2&quot;/&gt;&lt;/m_colFont&gt;&lt;m_fill&gt;&lt;m_bVisible val=&quot;0&quot;/&gt;&lt;/m_fill&gt;&lt;m_linestyle&gt;&lt;m_bVisible val=&quot;1&quot;/&gt;&lt;m_nWeight val=&quot;6&quot;/&gt;&lt;m_col&gt;&lt;m_ppcolschidx val=&quot;2&quot;/&gt;&lt;/m_col&gt;&lt;m_msolinedashstyle val=&quot;1&quot;/&gt;&lt;m_msoarrowheadstyleBegin val=&quot;1&quot;/&gt;&lt;m_msoarrowheadstyleEnd val=&quot;1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elem&gt;&lt;m_bVisible val=&quot;1&quot;/&gt;&lt;m_font&gt;&lt;m_bBold val=&quot;0&quot;/&gt;&lt;/m_font&gt;&lt;m_colFont&gt;&lt;m_ppcolschidx val=&quot;2&quot;/&gt;&lt;/m_colFont&gt;&lt;m_fill&gt;&lt;m_bVisible val=&quot;0&quot;/&gt;&lt;/m_fill&gt;&lt;m_linestyle&gt;&lt;m_bVisible val=&quot;0&quot;/&gt;&lt;/m_linestyle&gt;&lt;/elem&gt;&lt;elem&gt;&lt;m_bVisible val=&quot;0&quot;/&gt;&lt;/elem&gt;&lt;/m_aagendaitemprops&gt;&lt;m_linestyleTopBottomLine&gt;&lt;m_bVisible val=&quot;0&quot;/&gt;&lt;/m_linestyleTopBottomLine&gt;&lt;/m_agendatheme&gt;&lt;m_mapectfillschemeMRU/&gt;&lt;m_eweekdayFirstOfWeek val=&quot;1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MinusSymbol&gt;-&lt;/m_chMinus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513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C3_ib8Pk6k6Ufdjr8CiE.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uj1_z0EmEi1ZermGN_6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eHNUFTl0Uu77cVj3gD6Vw"/>
</p:tagLst>
</file>

<file path=ppt/theme/theme1.xml><?xml version="1.0" encoding="utf-8"?>
<a:theme xmlns:a="http://schemas.openxmlformats.org/drawingml/2006/main" name="SPRP_Correct Power Point Template v1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SPRP_Correct Power Point Template v1</Template>
  <TotalTime>84</TotalTime>
  <Words>564</Words>
  <Application>Microsoft Office PowerPoint</Application>
  <PresentationFormat>A4 (21x29,7 cm)</PresentationFormat>
  <Paragraphs>179</Paragraphs>
  <Slides>11</Slides>
  <Notes>2</Notes>
  <HiddenSlides>0</HiddenSlides>
  <MMClips>0</MMClips>
  <ScaleCrop>false</ScaleCrop>
  <HeadingPairs>
    <vt:vector size="10" baseType="variant">
      <vt:variant>
        <vt:lpstr>Caratteri utilizzati</vt:lpstr>
      </vt:variant>
      <vt:variant>
        <vt:i4>8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1</vt:i4>
      </vt:variant>
      <vt:variant>
        <vt:lpstr>Presentazioni personalizzate</vt:lpstr>
      </vt:variant>
      <vt:variant>
        <vt:i4>1</vt:i4>
      </vt:variant>
    </vt:vector>
  </HeadingPairs>
  <TitlesOfParts>
    <vt:vector size="22" baseType="lpstr">
      <vt:lpstr>Arial Unicode MS</vt:lpstr>
      <vt:lpstr>ＭＳ 明朝</vt:lpstr>
      <vt:lpstr>宋体</vt:lpstr>
      <vt:lpstr>Arial</vt:lpstr>
      <vt:lpstr>Calibri</vt:lpstr>
      <vt:lpstr>Calisto MT</vt:lpstr>
      <vt:lpstr>Optane</vt:lpstr>
      <vt:lpstr>Wingdings</vt:lpstr>
      <vt:lpstr>SPRP_Correct Power Point Template v1</vt:lpstr>
      <vt:lpstr>think-cell Slide</vt:lpstr>
      <vt:lpstr>Presentazione standard di PowerPoint</vt:lpstr>
      <vt:lpstr>Presentazione standard di PowerPoint</vt:lpstr>
      <vt:lpstr>Youth Guarantee as an experimental laboratory</vt:lpstr>
      <vt:lpstr>ANPAL Competences 1/2</vt:lpstr>
      <vt:lpstr>ANPAL Competences 2/2</vt:lpstr>
      <vt:lpstr>National Network of services for employment policies  </vt:lpstr>
      <vt:lpstr>The Strategic Plan for strengthening PES and ALMP</vt:lpstr>
      <vt:lpstr>Some information on PES staff (in local offices)</vt:lpstr>
      <vt:lpstr>How much we spend on ALMPs</vt:lpstr>
      <vt:lpstr>Main issues for the introduction of common tools</vt:lpstr>
      <vt:lpstr>Ongoing activities and next steps…</vt:lpstr>
      <vt:lpstr>Custom Show 1</vt:lpstr>
    </vt:vector>
  </TitlesOfParts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SPRP-BJ User</dc:creator>
  <cp:lastModifiedBy>Bonavolontà Valeria</cp:lastModifiedBy>
  <cp:revision>16</cp:revision>
  <cp:lastPrinted>2015-01-26T19:32:44Z</cp:lastPrinted>
  <dcterms:created xsi:type="dcterms:W3CDTF">2015-09-07T02:11:56Z</dcterms:created>
  <dcterms:modified xsi:type="dcterms:W3CDTF">2018-10-11T11:16:19Z</dcterms:modified>
</cp:coreProperties>
</file>